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5"/>
  </p:notesMasterIdLst>
  <p:sldIdLst>
    <p:sldId id="256" r:id="rId2"/>
    <p:sldId id="258" r:id="rId3"/>
    <p:sldId id="272" r:id="rId4"/>
    <p:sldId id="273" r:id="rId5"/>
    <p:sldId id="303" r:id="rId6"/>
    <p:sldId id="304" r:id="rId7"/>
    <p:sldId id="305" r:id="rId8"/>
    <p:sldId id="307" r:id="rId9"/>
    <p:sldId id="306" r:id="rId10"/>
    <p:sldId id="279" r:id="rId11"/>
    <p:sldId id="281" r:id="rId12"/>
    <p:sldId id="282" r:id="rId13"/>
    <p:sldId id="285" r:id="rId14"/>
    <p:sldId id="312" r:id="rId15"/>
    <p:sldId id="314" r:id="rId16"/>
    <p:sldId id="313" r:id="rId17"/>
    <p:sldId id="308" r:id="rId18"/>
    <p:sldId id="311" r:id="rId19"/>
    <p:sldId id="342" r:id="rId20"/>
    <p:sldId id="316" r:id="rId21"/>
    <p:sldId id="343" r:id="rId22"/>
    <p:sldId id="315" r:id="rId23"/>
    <p:sldId id="318" r:id="rId24"/>
    <p:sldId id="317" r:id="rId25"/>
    <p:sldId id="319" r:id="rId26"/>
    <p:sldId id="325" r:id="rId27"/>
    <p:sldId id="323" r:id="rId28"/>
    <p:sldId id="324" r:id="rId29"/>
    <p:sldId id="291" r:id="rId30"/>
    <p:sldId id="329" r:id="rId31"/>
    <p:sldId id="326" r:id="rId32"/>
    <p:sldId id="331" r:id="rId33"/>
    <p:sldId id="330" r:id="rId34"/>
    <p:sldId id="327" r:id="rId35"/>
    <p:sldId id="333" r:id="rId36"/>
    <p:sldId id="332" r:id="rId37"/>
    <p:sldId id="334" r:id="rId38"/>
    <p:sldId id="335" r:id="rId39"/>
    <p:sldId id="336" r:id="rId40"/>
    <p:sldId id="288" r:id="rId41"/>
    <p:sldId id="337" r:id="rId42"/>
    <p:sldId id="338" r:id="rId43"/>
    <p:sldId id="339" r:id="rId44"/>
    <p:sldId id="341" r:id="rId45"/>
    <p:sldId id="296" r:id="rId46"/>
    <p:sldId id="297" r:id="rId47"/>
    <p:sldId id="298" r:id="rId48"/>
    <p:sldId id="299" r:id="rId49"/>
    <p:sldId id="300" r:id="rId50"/>
    <p:sldId id="301" r:id="rId51"/>
    <p:sldId id="302" r:id="rId52"/>
    <p:sldId id="344" r:id="rId53"/>
    <p:sldId id="264" r:id="rId54"/>
  </p:sldIdLst>
  <p:sldSz cx="9906000" cy="6858000" type="A4"/>
  <p:notesSz cx="6858000" cy="9144000"/>
  <p:custDataLst>
    <p:tags r:id="rId5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>
          <p15:clr>
            <a:srgbClr val="A4A3A4"/>
          </p15:clr>
        </p15:guide>
        <p15:guide id="4" pos="398" userDrawn="1">
          <p15:clr>
            <a:srgbClr val="A4A3A4"/>
          </p15:clr>
        </p15:guide>
        <p15:guide id="5" pos="5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sser Kathrin" initials="LK" lastIdx="2" clrIdx="0">
    <p:extLst>
      <p:ext uri="{19B8F6BF-5375-455C-9EA6-DF929625EA0E}">
        <p15:presenceInfo xmlns:p15="http://schemas.microsoft.com/office/powerpoint/2012/main" userId="S-1-5-21-76752566-823938190-1947940980-1512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593"/>
    <a:srgbClr val="EBCFB3"/>
    <a:srgbClr val="C8C2E0"/>
    <a:srgbClr val="BCCEBE"/>
    <a:srgbClr val="F1F4E7"/>
    <a:srgbClr val="F4F8F1"/>
    <a:srgbClr val="969696"/>
    <a:srgbClr val="004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18" d="100"/>
          <a:sy n="118" d="100"/>
        </p:scale>
        <p:origin x="1116" y="56"/>
      </p:cViewPr>
      <p:guideLst>
        <p:guide orient="horz" pos="663"/>
        <p:guide/>
        <p:guide pos="398"/>
        <p:guide pos="584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commentAuthors" Target="commentAuthors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259840-C7D4-42F8-A0D8-19BA1E57E32E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AT"/>
        </a:p>
      </dgm:t>
    </dgm:pt>
    <dgm:pt modelId="{A438EA2D-A868-4EA7-BCAD-FEF879EC7189}">
      <dgm:prSet phldrT="[Text]"/>
      <dgm:spPr>
        <a:xfrm>
          <a:off x="954" y="940580"/>
          <a:ext cx="1198968" cy="502437"/>
        </a:xfr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idea</a:t>
          </a:r>
          <a:endParaRPr lang="en-GB" b="1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28F2192C-E647-409B-8732-69F67027AD19}" type="parTrans" cxnId="{A00C85E2-9DE4-4038-AB31-20D6E8F7A87D}">
      <dgm:prSet/>
      <dgm:spPr/>
      <dgm:t>
        <a:bodyPr/>
        <a:lstStyle/>
        <a:p>
          <a:endParaRPr lang="en-GB" noProof="0" dirty="0"/>
        </a:p>
      </dgm:t>
    </dgm:pt>
    <dgm:pt modelId="{A26D4729-72CD-4C13-96AF-5D8D828928E4}" type="sibTrans" cxnId="{A00C85E2-9DE4-4038-AB31-20D6E8F7A87D}">
      <dgm:prSet/>
      <dgm:spPr>
        <a:xfrm>
          <a:off x="1381681" y="958805"/>
          <a:ext cx="385329" cy="298508"/>
        </a:xfr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864FAFA0-D391-4491-A1DC-D4EF98DB5BAE}">
      <dgm:prSet phldrT="[Text]"/>
      <dgm:spPr>
        <a:xfrm>
          <a:off x="246525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are our common needs and potentials?</a:t>
          </a:r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5931F579-EFA7-4846-9F1A-26B3487365F1}" type="parTrans" cxnId="{41A4FA35-425C-4EE5-8D47-5BA7D84BF10C}">
      <dgm:prSet/>
      <dgm:spPr/>
      <dgm:t>
        <a:bodyPr/>
        <a:lstStyle/>
        <a:p>
          <a:endParaRPr lang="en-GB" noProof="0" dirty="0"/>
        </a:p>
      </dgm:t>
    </dgm:pt>
    <dgm:pt modelId="{55162BED-CD93-44E3-B1AD-D4D13923F08F}" type="sibTrans" cxnId="{41A4FA35-425C-4EE5-8D47-5BA7D84BF10C}">
      <dgm:prSet/>
      <dgm:spPr/>
      <dgm:t>
        <a:bodyPr/>
        <a:lstStyle/>
        <a:p>
          <a:endParaRPr lang="en-GB" noProof="0" dirty="0"/>
        </a:p>
      </dgm:t>
    </dgm:pt>
    <dgm:pt modelId="{C93C7B6F-B489-465F-884B-8B58EAADEA6A}">
      <dgm:prSet phldrT="[Text]"/>
      <dgm:spPr>
        <a:xfrm>
          <a:off x="1926959" y="940580"/>
          <a:ext cx="1198968" cy="502437"/>
        </a:xfr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objective</a:t>
          </a:r>
          <a:endParaRPr lang="en-GB" b="1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E17156A1-6841-43A6-8E5B-155AFDA2AEBA}" type="parTrans" cxnId="{9DDE9831-E249-422E-9366-BC3CA8D1F8EC}">
      <dgm:prSet/>
      <dgm:spPr/>
      <dgm:t>
        <a:bodyPr/>
        <a:lstStyle/>
        <a:p>
          <a:endParaRPr lang="en-GB" noProof="0" dirty="0"/>
        </a:p>
      </dgm:t>
    </dgm:pt>
    <dgm:pt modelId="{67C057AE-AC21-4EFF-B9EA-2BF7971315F3}" type="sibTrans" cxnId="{9DDE9831-E249-422E-9366-BC3CA8D1F8EC}">
      <dgm:prSet/>
      <dgm:spPr>
        <a:xfrm>
          <a:off x="3307686" y="958805"/>
          <a:ext cx="385329" cy="298508"/>
        </a:xfr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E7555737-2C83-4D57-A011-E5E65C19197C}">
      <dgm:prSet phldrT="[Text]"/>
      <dgm:spPr>
        <a:xfrm>
          <a:off x="3852964" y="940580"/>
          <a:ext cx="1198968" cy="502437"/>
        </a:xfr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specific objectives </a:t>
          </a:r>
          <a:endParaRPr lang="en-GB" b="1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304FF3C0-1C2B-499D-8DDD-3C9C4F8F4A3B}" type="parTrans" cxnId="{6DE55D0B-F626-4A6B-9ABE-B929879A7814}">
      <dgm:prSet/>
      <dgm:spPr/>
      <dgm:t>
        <a:bodyPr/>
        <a:lstStyle/>
        <a:p>
          <a:endParaRPr lang="en-GB" noProof="0" dirty="0"/>
        </a:p>
      </dgm:t>
    </dgm:pt>
    <dgm:pt modelId="{08CED555-49BF-4A65-886B-81E485F7170A}" type="sibTrans" cxnId="{6DE55D0B-F626-4A6B-9ABE-B929879A7814}">
      <dgm:prSet/>
      <dgm:spPr>
        <a:xfrm>
          <a:off x="5233692" y="958805"/>
          <a:ext cx="385329" cy="298508"/>
        </a:xfr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626F1640-7B4B-401A-8C02-1D3645C3B815}">
      <dgm:prSet phldrT="[Text]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do we want to change in the programme area?</a:t>
          </a:r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900E9169-AA12-463B-9C0A-CAC918484BDF}" type="parTrans" cxnId="{8B875720-4F64-4F83-9877-320F8C0146B0}">
      <dgm:prSet/>
      <dgm:spPr/>
      <dgm:t>
        <a:bodyPr/>
        <a:lstStyle/>
        <a:p>
          <a:endParaRPr lang="en-GB" noProof="0" dirty="0"/>
        </a:p>
      </dgm:t>
    </dgm:pt>
    <dgm:pt modelId="{6A911727-BD31-4D02-88CE-B4F8EB6C4276}" type="sibTrans" cxnId="{8B875720-4F64-4F83-9877-320F8C0146B0}">
      <dgm:prSet/>
      <dgm:spPr/>
      <dgm:t>
        <a:bodyPr/>
        <a:lstStyle/>
        <a:p>
          <a:endParaRPr lang="en-GB" noProof="0" dirty="0"/>
        </a:p>
      </dgm:t>
    </dgm:pt>
    <dgm:pt modelId="{3F0C511A-389E-4C75-A972-AE840052CCB8}">
      <dgm:prSet phldrT="[Text]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is the added value?</a:t>
          </a:r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887A3EB8-A462-4B81-9106-0F78E9CDA580}" type="parTrans" cxnId="{4BFA9762-108B-476F-A92C-9D64691585A0}">
      <dgm:prSet/>
      <dgm:spPr/>
      <dgm:t>
        <a:bodyPr/>
        <a:lstStyle/>
        <a:p>
          <a:endParaRPr lang="en-GB" noProof="0" dirty="0"/>
        </a:p>
      </dgm:t>
    </dgm:pt>
    <dgm:pt modelId="{F01350D4-A13D-4F51-8B64-137A0FD7EA5B}" type="sibTrans" cxnId="{4BFA9762-108B-476F-A92C-9D64691585A0}">
      <dgm:prSet/>
      <dgm:spPr/>
      <dgm:t>
        <a:bodyPr/>
        <a:lstStyle/>
        <a:p>
          <a:endParaRPr lang="en-GB" noProof="0" dirty="0"/>
        </a:p>
      </dgm:t>
    </dgm:pt>
    <dgm:pt modelId="{7296DCE0-1200-410E-9480-E1D351DAD029}">
      <dgm:prSet phldrT="[Text]"/>
      <dgm:spPr>
        <a:xfrm>
          <a:off x="4098536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What are the immediate goals we can achieve within the project lifetime?</a:t>
          </a:r>
          <a:endParaRPr lang="en-GB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</dgm:t>
    </dgm:pt>
    <dgm:pt modelId="{0DA811AF-AC9F-4597-8955-CF94EE28C9FB}" type="parTrans" cxnId="{D07FCA14-2D2A-4553-889C-1A5DB627E064}">
      <dgm:prSet/>
      <dgm:spPr/>
      <dgm:t>
        <a:bodyPr/>
        <a:lstStyle/>
        <a:p>
          <a:endParaRPr lang="en-GB" noProof="0" dirty="0"/>
        </a:p>
      </dgm:t>
    </dgm:pt>
    <dgm:pt modelId="{63CCCDE5-ED30-40CB-92D7-AE6DC14AB9C7}" type="sibTrans" cxnId="{D07FCA14-2D2A-4553-889C-1A5DB627E064}">
      <dgm:prSet/>
      <dgm:spPr/>
      <dgm:t>
        <a:bodyPr/>
        <a:lstStyle/>
        <a:p>
          <a:endParaRPr lang="en-GB" noProof="0" dirty="0"/>
        </a:p>
      </dgm:t>
    </dgm:pt>
    <dgm:pt modelId="{C27851A6-5C7F-48DA-B4E7-7BA04AFF9B82}">
      <dgm:prSet phldrT="[Text]"/>
      <dgm:spPr>
        <a:xfrm>
          <a:off x="4098536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How do they contribute to the overall project objective?</a:t>
          </a:r>
          <a:endParaRPr lang="en-GB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</dgm:t>
    </dgm:pt>
    <dgm:pt modelId="{02EBB769-E074-4FF0-A6E1-75D157A248C3}" type="parTrans" cxnId="{B7558105-EC72-4154-96F1-FC2A5D61D2C8}">
      <dgm:prSet/>
      <dgm:spPr/>
      <dgm:t>
        <a:bodyPr/>
        <a:lstStyle/>
        <a:p>
          <a:endParaRPr lang="de-DE"/>
        </a:p>
      </dgm:t>
    </dgm:pt>
    <dgm:pt modelId="{E2251496-44BA-4D4E-B1DD-78A6AAA9A9EF}" type="sibTrans" cxnId="{B7558105-EC72-4154-96F1-FC2A5D61D2C8}">
      <dgm:prSet/>
      <dgm:spPr/>
      <dgm:t>
        <a:bodyPr/>
        <a:lstStyle/>
        <a:p>
          <a:endParaRPr lang="de-DE"/>
        </a:p>
      </dgm:t>
    </dgm:pt>
    <dgm:pt modelId="{9C7EEF36-8236-444C-9536-8435261E53CC}">
      <dgm:prSet phldrT="[Text]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How does this contribute to the programme? </a:t>
          </a:r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3577AED4-8568-435B-BACF-E1A3E13D3858}" type="parTrans" cxnId="{B8568589-CCF9-46B9-B982-8F94C191CB1D}">
      <dgm:prSet/>
      <dgm:spPr/>
      <dgm:t>
        <a:bodyPr/>
        <a:lstStyle/>
        <a:p>
          <a:endParaRPr lang="de-DE"/>
        </a:p>
      </dgm:t>
    </dgm:pt>
    <dgm:pt modelId="{30A43898-9469-40D7-9664-2B8F772305EB}" type="sibTrans" cxnId="{B8568589-CCF9-46B9-B982-8F94C191CB1D}">
      <dgm:prSet/>
      <dgm:spPr/>
      <dgm:t>
        <a:bodyPr/>
        <a:lstStyle/>
        <a:p>
          <a:endParaRPr lang="de-DE"/>
        </a:p>
      </dgm:t>
    </dgm:pt>
    <dgm:pt modelId="{47164A84-17E6-4E15-B2E0-A9684425553D}">
      <dgm:prSet phldrT="[Text]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9518C61A-6FAC-42B9-9A7F-F07049872C15}" type="parTrans" cxnId="{108A2CC8-BE8A-4B2A-A6C3-FA2992172E31}">
      <dgm:prSet/>
      <dgm:spPr/>
      <dgm:t>
        <a:bodyPr/>
        <a:lstStyle/>
        <a:p>
          <a:endParaRPr lang="de-DE"/>
        </a:p>
      </dgm:t>
    </dgm:pt>
    <dgm:pt modelId="{E0148CB3-3199-4101-A81C-36DB1D1DC033}" type="sibTrans" cxnId="{108A2CC8-BE8A-4B2A-A6C3-FA2992172E31}">
      <dgm:prSet/>
      <dgm:spPr/>
      <dgm:t>
        <a:bodyPr/>
        <a:lstStyle/>
        <a:p>
          <a:endParaRPr lang="de-DE"/>
        </a:p>
      </dgm:t>
    </dgm:pt>
    <dgm:pt modelId="{054872CC-79EF-4A37-AC05-49DF0DCC203C}">
      <dgm:prSet phldrT="[Text]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16D76321-6CD2-4B99-A95E-A4BEA5022F50}" type="parTrans" cxnId="{592A94F9-8297-471E-8015-531268742021}">
      <dgm:prSet/>
      <dgm:spPr/>
      <dgm:t>
        <a:bodyPr/>
        <a:lstStyle/>
        <a:p>
          <a:endParaRPr lang="de-DE"/>
        </a:p>
      </dgm:t>
    </dgm:pt>
    <dgm:pt modelId="{5C93355D-7936-4334-8978-080F3E329C83}" type="sibTrans" cxnId="{592A94F9-8297-471E-8015-531268742021}">
      <dgm:prSet/>
      <dgm:spPr/>
      <dgm:t>
        <a:bodyPr/>
        <a:lstStyle/>
        <a:p>
          <a:endParaRPr lang="de-DE"/>
        </a:p>
      </dgm:t>
    </dgm:pt>
    <dgm:pt modelId="{AE52A15C-2FB8-4169-815B-19E201563F38}">
      <dgm:prSet phldrT="[Text]"/>
      <dgm:spPr>
        <a:xfrm>
          <a:off x="4098536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GB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</dgm:t>
    </dgm:pt>
    <dgm:pt modelId="{9C095818-C74E-442F-960D-3C2262F3678B}" type="parTrans" cxnId="{E193A764-A7A8-4AE8-9D46-6EDC2A01C96A}">
      <dgm:prSet/>
      <dgm:spPr/>
      <dgm:t>
        <a:bodyPr/>
        <a:lstStyle/>
        <a:p>
          <a:endParaRPr lang="de-DE"/>
        </a:p>
      </dgm:t>
    </dgm:pt>
    <dgm:pt modelId="{F4CA9454-22AE-41C7-A009-1A6CFB711AC0}" type="sibTrans" cxnId="{E193A764-A7A8-4AE8-9D46-6EDC2A01C96A}">
      <dgm:prSet/>
      <dgm:spPr/>
      <dgm:t>
        <a:bodyPr/>
        <a:lstStyle/>
        <a:p>
          <a:endParaRPr lang="de-DE"/>
        </a:p>
      </dgm:t>
    </dgm:pt>
    <dgm:pt modelId="{A8A5A6FF-1404-4F5F-AFB6-96B5B43839E5}" type="pres">
      <dgm:prSet presAssocID="{51259840-C7D4-42F8-A0D8-19BA1E57E32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AT"/>
        </a:p>
      </dgm:t>
    </dgm:pt>
    <dgm:pt modelId="{695FD939-FF1F-4DD6-AA7F-2D4FEA81FB96}" type="pres">
      <dgm:prSet presAssocID="{A438EA2D-A868-4EA7-BCAD-FEF879EC7189}" presName="composite" presStyleCnt="0"/>
      <dgm:spPr/>
    </dgm:pt>
    <dgm:pt modelId="{2E0B1D77-3F21-4B74-892F-DDBB30253330}" type="pres">
      <dgm:prSet presAssocID="{A438EA2D-A868-4EA7-BCAD-FEF879EC7189}" presName="parTx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59F74786-5688-448E-8E6B-5C3E153C319B}" type="pres">
      <dgm:prSet presAssocID="{A438EA2D-A868-4EA7-BCAD-FEF879EC7189}" presName="parSh" presStyleLbl="node1" presStyleIdx="0" presStyleCnt="3"/>
      <dgm:spPr/>
      <dgm:t>
        <a:bodyPr/>
        <a:lstStyle/>
        <a:p>
          <a:endParaRPr lang="de-AT"/>
        </a:p>
      </dgm:t>
    </dgm:pt>
    <dgm:pt modelId="{CB42D2D1-AB80-439E-B110-810C5DC81EC9}" type="pres">
      <dgm:prSet presAssocID="{A438EA2D-A868-4EA7-BCAD-FEF879EC7189}" presName="desTx" presStyleLbl="fgAcc1" presStyleIdx="0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7E3EBFAF-CCBB-4B13-A5C0-24F6B1B77D99}" type="pres">
      <dgm:prSet presAssocID="{A26D4729-72CD-4C13-96AF-5D8D828928E4}" presName="sibTrans" presStyleLbl="sibTrans2D1" presStyleIdx="0" presStyleCnt="2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de-AT"/>
        </a:p>
      </dgm:t>
    </dgm:pt>
    <dgm:pt modelId="{B5C83265-042C-40FD-995F-1EDB4F76C29E}" type="pres">
      <dgm:prSet presAssocID="{A26D4729-72CD-4C13-96AF-5D8D828928E4}" presName="connTx" presStyleLbl="sibTrans2D1" presStyleIdx="0" presStyleCnt="2"/>
      <dgm:spPr/>
      <dgm:t>
        <a:bodyPr/>
        <a:lstStyle/>
        <a:p>
          <a:endParaRPr lang="de-AT"/>
        </a:p>
      </dgm:t>
    </dgm:pt>
    <dgm:pt modelId="{8BBD0D1C-D7BB-4C1C-89DB-2C510F5FCE1C}" type="pres">
      <dgm:prSet presAssocID="{C93C7B6F-B489-465F-884B-8B58EAADEA6A}" presName="composite" presStyleCnt="0"/>
      <dgm:spPr/>
    </dgm:pt>
    <dgm:pt modelId="{8BD5518D-C77B-4A8C-9ED1-4E8844C81A51}" type="pres">
      <dgm:prSet presAssocID="{C93C7B6F-B489-465F-884B-8B58EAADEA6A}" presName="parTx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F82CDC61-8521-4BD3-92BA-4013A7BCAF73}" type="pres">
      <dgm:prSet presAssocID="{C93C7B6F-B489-465F-884B-8B58EAADEA6A}" presName="parSh" presStyleLbl="node1" presStyleIdx="1" presStyleCnt="3"/>
      <dgm:spPr/>
      <dgm:t>
        <a:bodyPr/>
        <a:lstStyle/>
        <a:p>
          <a:endParaRPr lang="de-AT"/>
        </a:p>
      </dgm:t>
    </dgm:pt>
    <dgm:pt modelId="{E97133B4-C378-4CEB-9802-E42218BC7974}" type="pres">
      <dgm:prSet presAssocID="{C93C7B6F-B489-465F-884B-8B58EAADEA6A}" presName="desTx" presStyleLbl="fgAcc1" presStyleIdx="1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47F649D3-3D8C-41BD-9E7C-DD0B5D44F606}" type="pres">
      <dgm:prSet presAssocID="{67C057AE-AC21-4EFF-B9EA-2BF7971315F3}" presName="sibTrans" presStyleLbl="sibTrans2D1" presStyleIdx="1" presStyleCnt="2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de-AT"/>
        </a:p>
      </dgm:t>
    </dgm:pt>
    <dgm:pt modelId="{94FB51BC-A042-4CE9-BD6D-07C9B6549EBB}" type="pres">
      <dgm:prSet presAssocID="{67C057AE-AC21-4EFF-B9EA-2BF7971315F3}" presName="connTx" presStyleLbl="sibTrans2D1" presStyleIdx="1" presStyleCnt="2"/>
      <dgm:spPr/>
      <dgm:t>
        <a:bodyPr/>
        <a:lstStyle/>
        <a:p>
          <a:endParaRPr lang="de-AT"/>
        </a:p>
      </dgm:t>
    </dgm:pt>
    <dgm:pt modelId="{2B1EF9D4-CADB-4F74-94E6-EA90E7EF06C4}" type="pres">
      <dgm:prSet presAssocID="{E7555737-2C83-4D57-A011-E5E65C19197C}" presName="composite" presStyleCnt="0"/>
      <dgm:spPr/>
    </dgm:pt>
    <dgm:pt modelId="{3489A6D6-6324-4820-8A7D-F28FDE905367}" type="pres">
      <dgm:prSet presAssocID="{E7555737-2C83-4D57-A011-E5E65C19197C}" presName="parTx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AF60309C-C560-4EB0-A10C-D0D981E37D31}" type="pres">
      <dgm:prSet presAssocID="{E7555737-2C83-4D57-A011-E5E65C19197C}" presName="parSh" presStyleLbl="node1" presStyleIdx="2" presStyleCnt="3"/>
      <dgm:spPr/>
      <dgm:t>
        <a:bodyPr/>
        <a:lstStyle/>
        <a:p>
          <a:endParaRPr lang="de-AT"/>
        </a:p>
      </dgm:t>
    </dgm:pt>
    <dgm:pt modelId="{9C580061-6795-4674-BADA-5A66C35CD8FF}" type="pres">
      <dgm:prSet presAssocID="{E7555737-2C83-4D57-A011-E5E65C19197C}" presName="desTx" presStyleLbl="fgAcc1" presStyleIdx="2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</dgm:ptLst>
  <dgm:cxnLst>
    <dgm:cxn modelId="{5B9E4215-4D09-4B75-A4C4-1019508F7F33}" type="presOf" srcId="{E7555737-2C83-4D57-A011-E5E65C19197C}" destId="{3489A6D6-6324-4820-8A7D-F28FDE905367}" srcOrd="0" destOrd="0" presId="urn:microsoft.com/office/officeart/2005/8/layout/process3"/>
    <dgm:cxn modelId="{B7558105-EC72-4154-96F1-FC2A5D61D2C8}" srcId="{E7555737-2C83-4D57-A011-E5E65C19197C}" destId="{C27851A6-5C7F-48DA-B4E7-7BA04AFF9B82}" srcOrd="2" destOrd="0" parTransId="{02EBB769-E074-4FF0-A6E1-75D157A248C3}" sibTransId="{E2251496-44BA-4D4E-B1DD-78A6AAA9A9EF}"/>
    <dgm:cxn modelId="{0B40CB8B-4DEA-4B3F-B951-6F04594C96DD}" type="presOf" srcId="{67C057AE-AC21-4EFF-B9EA-2BF7971315F3}" destId="{94FB51BC-A042-4CE9-BD6D-07C9B6549EBB}" srcOrd="1" destOrd="0" presId="urn:microsoft.com/office/officeart/2005/8/layout/process3"/>
    <dgm:cxn modelId="{B8568589-CCF9-46B9-B982-8F94C191CB1D}" srcId="{C93C7B6F-B489-465F-884B-8B58EAADEA6A}" destId="{9C7EEF36-8236-444C-9536-8435261E53CC}" srcOrd="4" destOrd="0" parTransId="{3577AED4-8568-435B-BACF-E1A3E13D3858}" sibTransId="{30A43898-9469-40D7-9664-2B8F772305EB}"/>
    <dgm:cxn modelId="{93B6F7A5-FFA3-4A42-9938-51FA13E83C67}" type="presOf" srcId="{E7555737-2C83-4D57-A011-E5E65C19197C}" destId="{AF60309C-C560-4EB0-A10C-D0D981E37D31}" srcOrd="1" destOrd="0" presId="urn:microsoft.com/office/officeart/2005/8/layout/process3"/>
    <dgm:cxn modelId="{2F5F21BD-3F6E-4627-A178-D398585DE4DF}" type="presOf" srcId="{C93C7B6F-B489-465F-884B-8B58EAADEA6A}" destId="{F82CDC61-8521-4BD3-92BA-4013A7BCAF73}" srcOrd="1" destOrd="0" presId="urn:microsoft.com/office/officeart/2005/8/layout/process3"/>
    <dgm:cxn modelId="{F8E78A72-7A59-4374-8815-5232F702D618}" type="presOf" srcId="{51259840-C7D4-42F8-A0D8-19BA1E57E32E}" destId="{A8A5A6FF-1404-4F5F-AFB6-96B5B43839E5}" srcOrd="0" destOrd="0" presId="urn:microsoft.com/office/officeart/2005/8/layout/process3"/>
    <dgm:cxn modelId="{E193A764-A7A8-4AE8-9D46-6EDC2A01C96A}" srcId="{E7555737-2C83-4D57-A011-E5E65C19197C}" destId="{AE52A15C-2FB8-4169-815B-19E201563F38}" srcOrd="1" destOrd="0" parTransId="{9C095818-C74E-442F-960D-3C2262F3678B}" sibTransId="{F4CA9454-22AE-41C7-A009-1A6CFB711AC0}"/>
    <dgm:cxn modelId="{D07FCA14-2D2A-4553-889C-1A5DB627E064}" srcId="{E7555737-2C83-4D57-A011-E5E65C19197C}" destId="{7296DCE0-1200-410E-9480-E1D351DAD029}" srcOrd="0" destOrd="0" parTransId="{0DA811AF-AC9F-4597-8955-CF94EE28C9FB}" sibTransId="{63CCCDE5-ED30-40CB-92D7-AE6DC14AB9C7}"/>
    <dgm:cxn modelId="{A00C85E2-9DE4-4038-AB31-20D6E8F7A87D}" srcId="{51259840-C7D4-42F8-A0D8-19BA1E57E32E}" destId="{A438EA2D-A868-4EA7-BCAD-FEF879EC7189}" srcOrd="0" destOrd="0" parTransId="{28F2192C-E647-409B-8732-69F67027AD19}" sibTransId="{A26D4729-72CD-4C13-96AF-5D8D828928E4}"/>
    <dgm:cxn modelId="{1C5E9CB2-DF7E-4A5C-86CB-A556515F4183}" type="presOf" srcId="{864FAFA0-D391-4491-A1DC-D4EF98DB5BAE}" destId="{CB42D2D1-AB80-439E-B110-810C5DC81EC9}" srcOrd="0" destOrd="0" presId="urn:microsoft.com/office/officeart/2005/8/layout/process3"/>
    <dgm:cxn modelId="{5ED6D31E-4EEF-4CFA-9CD2-D033D6E83E33}" type="presOf" srcId="{A438EA2D-A868-4EA7-BCAD-FEF879EC7189}" destId="{59F74786-5688-448E-8E6B-5C3E153C319B}" srcOrd="1" destOrd="0" presId="urn:microsoft.com/office/officeart/2005/8/layout/process3"/>
    <dgm:cxn modelId="{1B08696C-9877-4FB7-B864-742B1985F2B9}" type="presOf" srcId="{A26D4729-72CD-4C13-96AF-5D8D828928E4}" destId="{B5C83265-042C-40FD-995F-1EDB4F76C29E}" srcOrd="1" destOrd="0" presId="urn:microsoft.com/office/officeart/2005/8/layout/process3"/>
    <dgm:cxn modelId="{69F78743-62FA-40F5-BAA1-9A78AD477C6A}" type="presOf" srcId="{054872CC-79EF-4A37-AC05-49DF0DCC203C}" destId="{E97133B4-C378-4CEB-9802-E42218BC7974}" srcOrd="0" destOrd="3" presId="urn:microsoft.com/office/officeart/2005/8/layout/process3"/>
    <dgm:cxn modelId="{F6D25BC6-6A0C-4101-B57A-3DA4EADB7551}" type="presOf" srcId="{3F0C511A-389E-4C75-A972-AE840052CCB8}" destId="{E97133B4-C378-4CEB-9802-E42218BC7974}" srcOrd="0" destOrd="2" presId="urn:microsoft.com/office/officeart/2005/8/layout/process3"/>
    <dgm:cxn modelId="{4F03FECF-7E59-4238-886B-39615185AE34}" type="presOf" srcId="{67C057AE-AC21-4EFF-B9EA-2BF7971315F3}" destId="{47F649D3-3D8C-41BD-9E7C-DD0B5D44F606}" srcOrd="0" destOrd="0" presId="urn:microsoft.com/office/officeart/2005/8/layout/process3"/>
    <dgm:cxn modelId="{8F8CF5F6-A956-4AEF-9251-06A91E630DFD}" type="presOf" srcId="{C93C7B6F-B489-465F-884B-8B58EAADEA6A}" destId="{8BD5518D-C77B-4A8C-9ED1-4E8844C81A51}" srcOrd="0" destOrd="0" presId="urn:microsoft.com/office/officeart/2005/8/layout/process3"/>
    <dgm:cxn modelId="{32A02921-E8B9-4A6F-9DA7-F5C8C4DA9EA9}" type="presOf" srcId="{7296DCE0-1200-410E-9480-E1D351DAD029}" destId="{9C580061-6795-4674-BADA-5A66C35CD8FF}" srcOrd="0" destOrd="0" presId="urn:microsoft.com/office/officeart/2005/8/layout/process3"/>
    <dgm:cxn modelId="{8B875720-4F64-4F83-9877-320F8C0146B0}" srcId="{C93C7B6F-B489-465F-884B-8B58EAADEA6A}" destId="{626F1640-7B4B-401A-8C02-1D3645C3B815}" srcOrd="0" destOrd="0" parTransId="{900E9169-AA12-463B-9C0A-CAC918484BDF}" sibTransId="{6A911727-BD31-4D02-88CE-B4F8EB6C4276}"/>
    <dgm:cxn modelId="{6DE55D0B-F626-4A6B-9ABE-B929879A7814}" srcId="{51259840-C7D4-42F8-A0D8-19BA1E57E32E}" destId="{E7555737-2C83-4D57-A011-E5E65C19197C}" srcOrd="2" destOrd="0" parTransId="{304FF3C0-1C2B-499D-8DDD-3C9C4F8F4A3B}" sibTransId="{08CED555-49BF-4A65-886B-81E485F7170A}"/>
    <dgm:cxn modelId="{E1C7B848-F1FD-48EF-8EF1-1EC2ACD5D495}" type="presOf" srcId="{9C7EEF36-8236-444C-9536-8435261E53CC}" destId="{E97133B4-C378-4CEB-9802-E42218BC7974}" srcOrd="0" destOrd="4" presId="urn:microsoft.com/office/officeart/2005/8/layout/process3"/>
    <dgm:cxn modelId="{4BFA9762-108B-476F-A92C-9D64691585A0}" srcId="{C93C7B6F-B489-465F-884B-8B58EAADEA6A}" destId="{3F0C511A-389E-4C75-A972-AE840052CCB8}" srcOrd="2" destOrd="0" parTransId="{887A3EB8-A462-4B81-9106-0F78E9CDA580}" sibTransId="{F01350D4-A13D-4F51-8B64-137A0FD7EA5B}"/>
    <dgm:cxn modelId="{41A4FA35-425C-4EE5-8D47-5BA7D84BF10C}" srcId="{A438EA2D-A868-4EA7-BCAD-FEF879EC7189}" destId="{864FAFA0-D391-4491-A1DC-D4EF98DB5BAE}" srcOrd="0" destOrd="0" parTransId="{5931F579-EFA7-4846-9F1A-26B3487365F1}" sibTransId="{55162BED-CD93-44E3-B1AD-D4D13923F08F}"/>
    <dgm:cxn modelId="{1B402F89-1D7E-46FA-B246-98C8A6F0218E}" type="presOf" srcId="{AE52A15C-2FB8-4169-815B-19E201563F38}" destId="{9C580061-6795-4674-BADA-5A66C35CD8FF}" srcOrd="0" destOrd="1" presId="urn:microsoft.com/office/officeart/2005/8/layout/process3"/>
    <dgm:cxn modelId="{3EE244D4-727A-4C86-930A-DA4E61E81414}" type="presOf" srcId="{C27851A6-5C7F-48DA-B4E7-7BA04AFF9B82}" destId="{9C580061-6795-4674-BADA-5A66C35CD8FF}" srcOrd="0" destOrd="2" presId="urn:microsoft.com/office/officeart/2005/8/layout/process3"/>
    <dgm:cxn modelId="{236856F3-39BB-4628-A69D-049E397D4BBA}" type="presOf" srcId="{47164A84-17E6-4E15-B2E0-A9684425553D}" destId="{E97133B4-C378-4CEB-9802-E42218BC7974}" srcOrd="0" destOrd="1" presId="urn:microsoft.com/office/officeart/2005/8/layout/process3"/>
    <dgm:cxn modelId="{9DDE9831-E249-422E-9366-BC3CA8D1F8EC}" srcId="{51259840-C7D4-42F8-A0D8-19BA1E57E32E}" destId="{C93C7B6F-B489-465F-884B-8B58EAADEA6A}" srcOrd="1" destOrd="0" parTransId="{E17156A1-6841-43A6-8E5B-155AFDA2AEBA}" sibTransId="{67C057AE-AC21-4EFF-B9EA-2BF7971315F3}"/>
    <dgm:cxn modelId="{108A2CC8-BE8A-4B2A-A6C3-FA2992172E31}" srcId="{C93C7B6F-B489-465F-884B-8B58EAADEA6A}" destId="{47164A84-17E6-4E15-B2E0-A9684425553D}" srcOrd="1" destOrd="0" parTransId="{9518C61A-6FAC-42B9-9A7F-F07049872C15}" sibTransId="{E0148CB3-3199-4101-A81C-36DB1D1DC033}"/>
    <dgm:cxn modelId="{8EA175AE-EA16-4EBD-BAB0-8718C8793747}" type="presOf" srcId="{A26D4729-72CD-4C13-96AF-5D8D828928E4}" destId="{7E3EBFAF-CCBB-4B13-A5C0-24F6B1B77D99}" srcOrd="0" destOrd="0" presId="urn:microsoft.com/office/officeart/2005/8/layout/process3"/>
    <dgm:cxn modelId="{9FA07767-E6C7-4774-BAFA-3530E4C05C7D}" type="presOf" srcId="{A438EA2D-A868-4EA7-BCAD-FEF879EC7189}" destId="{2E0B1D77-3F21-4B74-892F-DDBB30253330}" srcOrd="0" destOrd="0" presId="urn:microsoft.com/office/officeart/2005/8/layout/process3"/>
    <dgm:cxn modelId="{592A94F9-8297-471E-8015-531268742021}" srcId="{C93C7B6F-B489-465F-884B-8B58EAADEA6A}" destId="{054872CC-79EF-4A37-AC05-49DF0DCC203C}" srcOrd="3" destOrd="0" parTransId="{16D76321-6CD2-4B99-A95E-A4BEA5022F50}" sibTransId="{5C93355D-7936-4334-8978-080F3E329C83}"/>
    <dgm:cxn modelId="{CBDF0CA1-A8F2-4283-9818-54E83A3C1354}" type="presOf" srcId="{626F1640-7B4B-401A-8C02-1D3645C3B815}" destId="{E97133B4-C378-4CEB-9802-E42218BC7974}" srcOrd="0" destOrd="0" presId="urn:microsoft.com/office/officeart/2005/8/layout/process3"/>
    <dgm:cxn modelId="{2ADE28B9-9068-4D1B-999C-F447E32E1841}" type="presParOf" srcId="{A8A5A6FF-1404-4F5F-AFB6-96B5B43839E5}" destId="{695FD939-FF1F-4DD6-AA7F-2D4FEA81FB96}" srcOrd="0" destOrd="0" presId="urn:microsoft.com/office/officeart/2005/8/layout/process3"/>
    <dgm:cxn modelId="{3091A918-F1B8-4206-853D-DBC169F2CD1D}" type="presParOf" srcId="{695FD939-FF1F-4DD6-AA7F-2D4FEA81FB96}" destId="{2E0B1D77-3F21-4B74-892F-DDBB30253330}" srcOrd="0" destOrd="0" presId="urn:microsoft.com/office/officeart/2005/8/layout/process3"/>
    <dgm:cxn modelId="{A84E65AA-A3A8-428B-A2ED-8062F0C876EF}" type="presParOf" srcId="{695FD939-FF1F-4DD6-AA7F-2D4FEA81FB96}" destId="{59F74786-5688-448E-8E6B-5C3E153C319B}" srcOrd="1" destOrd="0" presId="urn:microsoft.com/office/officeart/2005/8/layout/process3"/>
    <dgm:cxn modelId="{DDE62003-A60E-40E5-8771-4EA403092758}" type="presParOf" srcId="{695FD939-FF1F-4DD6-AA7F-2D4FEA81FB96}" destId="{CB42D2D1-AB80-439E-B110-810C5DC81EC9}" srcOrd="2" destOrd="0" presId="urn:microsoft.com/office/officeart/2005/8/layout/process3"/>
    <dgm:cxn modelId="{F6E41F30-B764-4FBB-9795-961852263A2F}" type="presParOf" srcId="{A8A5A6FF-1404-4F5F-AFB6-96B5B43839E5}" destId="{7E3EBFAF-CCBB-4B13-A5C0-24F6B1B77D99}" srcOrd="1" destOrd="0" presId="urn:microsoft.com/office/officeart/2005/8/layout/process3"/>
    <dgm:cxn modelId="{77288D09-5F4E-4AEB-BCAC-18B526A1A985}" type="presParOf" srcId="{7E3EBFAF-CCBB-4B13-A5C0-24F6B1B77D99}" destId="{B5C83265-042C-40FD-995F-1EDB4F76C29E}" srcOrd="0" destOrd="0" presId="urn:microsoft.com/office/officeart/2005/8/layout/process3"/>
    <dgm:cxn modelId="{213ABDEF-C211-432C-B3D3-5037AE155C5F}" type="presParOf" srcId="{A8A5A6FF-1404-4F5F-AFB6-96B5B43839E5}" destId="{8BBD0D1C-D7BB-4C1C-89DB-2C510F5FCE1C}" srcOrd="2" destOrd="0" presId="urn:microsoft.com/office/officeart/2005/8/layout/process3"/>
    <dgm:cxn modelId="{2A8BD4F7-EDBC-41A5-98A5-7B68601758D0}" type="presParOf" srcId="{8BBD0D1C-D7BB-4C1C-89DB-2C510F5FCE1C}" destId="{8BD5518D-C77B-4A8C-9ED1-4E8844C81A51}" srcOrd="0" destOrd="0" presId="urn:microsoft.com/office/officeart/2005/8/layout/process3"/>
    <dgm:cxn modelId="{8AB58BEF-3BAF-4128-9549-9FD98E73DCF2}" type="presParOf" srcId="{8BBD0D1C-D7BB-4C1C-89DB-2C510F5FCE1C}" destId="{F82CDC61-8521-4BD3-92BA-4013A7BCAF73}" srcOrd="1" destOrd="0" presId="urn:microsoft.com/office/officeart/2005/8/layout/process3"/>
    <dgm:cxn modelId="{DE86E051-03B1-4F20-BE22-F4C7E07B61DF}" type="presParOf" srcId="{8BBD0D1C-D7BB-4C1C-89DB-2C510F5FCE1C}" destId="{E97133B4-C378-4CEB-9802-E42218BC7974}" srcOrd="2" destOrd="0" presId="urn:microsoft.com/office/officeart/2005/8/layout/process3"/>
    <dgm:cxn modelId="{92B45486-BAFC-4D62-9E29-170B4F1906DE}" type="presParOf" srcId="{A8A5A6FF-1404-4F5F-AFB6-96B5B43839E5}" destId="{47F649D3-3D8C-41BD-9E7C-DD0B5D44F606}" srcOrd="3" destOrd="0" presId="urn:microsoft.com/office/officeart/2005/8/layout/process3"/>
    <dgm:cxn modelId="{38AD71AD-FD1F-4C5F-9943-2244F64B566D}" type="presParOf" srcId="{47F649D3-3D8C-41BD-9E7C-DD0B5D44F606}" destId="{94FB51BC-A042-4CE9-BD6D-07C9B6549EBB}" srcOrd="0" destOrd="0" presId="urn:microsoft.com/office/officeart/2005/8/layout/process3"/>
    <dgm:cxn modelId="{807AB43C-D030-4203-A1F3-71235321845C}" type="presParOf" srcId="{A8A5A6FF-1404-4F5F-AFB6-96B5B43839E5}" destId="{2B1EF9D4-CADB-4F74-94E6-EA90E7EF06C4}" srcOrd="4" destOrd="0" presId="urn:microsoft.com/office/officeart/2005/8/layout/process3"/>
    <dgm:cxn modelId="{CCD377F6-5AC8-4C67-A42B-B04955F51D70}" type="presParOf" srcId="{2B1EF9D4-CADB-4F74-94E6-EA90E7EF06C4}" destId="{3489A6D6-6324-4820-8A7D-F28FDE905367}" srcOrd="0" destOrd="0" presId="urn:microsoft.com/office/officeart/2005/8/layout/process3"/>
    <dgm:cxn modelId="{66B8FAA3-B486-4992-B690-1EE847D6BE8B}" type="presParOf" srcId="{2B1EF9D4-CADB-4F74-94E6-EA90E7EF06C4}" destId="{AF60309C-C560-4EB0-A10C-D0D981E37D31}" srcOrd="1" destOrd="0" presId="urn:microsoft.com/office/officeart/2005/8/layout/process3"/>
    <dgm:cxn modelId="{219DF5BD-2E0D-4A55-8D09-E2A1EBDFB78C}" type="presParOf" srcId="{2B1EF9D4-CADB-4F74-94E6-EA90E7EF06C4}" destId="{9C580061-6795-4674-BADA-5A66C35CD8FF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259840-C7D4-42F8-A0D8-19BA1E57E32E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AT"/>
        </a:p>
      </dgm:t>
    </dgm:pt>
    <dgm:pt modelId="{A438EA2D-A868-4EA7-BCAD-FEF879EC7189}">
      <dgm:prSet phldrT="[Text]"/>
      <dgm:spPr>
        <a:xfrm>
          <a:off x="954" y="940580"/>
          <a:ext cx="1198968" cy="502437"/>
        </a:xfr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activities</a:t>
          </a:r>
          <a:endParaRPr lang="en-GB" b="1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28F2192C-E647-409B-8732-69F67027AD19}" type="parTrans" cxnId="{A00C85E2-9DE4-4038-AB31-20D6E8F7A87D}">
      <dgm:prSet/>
      <dgm:spPr/>
      <dgm:t>
        <a:bodyPr/>
        <a:lstStyle/>
        <a:p>
          <a:endParaRPr lang="en-GB" noProof="0" dirty="0"/>
        </a:p>
      </dgm:t>
    </dgm:pt>
    <dgm:pt modelId="{A26D4729-72CD-4C13-96AF-5D8D828928E4}" type="sibTrans" cxnId="{A00C85E2-9DE4-4038-AB31-20D6E8F7A87D}">
      <dgm:prSet/>
      <dgm:spPr>
        <a:xfrm>
          <a:off x="1381681" y="958805"/>
          <a:ext cx="385329" cy="298508"/>
        </a:xfr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864FAFA0-D391-4491-A1DC-D4EF98DB5BAE}">
      <dgm:prSet phldrT="[Text]" custT="1"/>
      <dgm:spPr>
        <a:xfrm>
          <a:off x="246525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sz="1100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What are the necessary steps or tasks we need to implement?</a:t>
          </a:r>
          <a:endParaRPr lang="en-GB" sz="1100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</dgm:t>
    </dgm:pt>
    <dgm:pt modelId="{5931F579-EFA7-4846-9F1A-26B3487365F1}" type="parTrans" cxnId="{41A4FA35-425C-4EE5-8D47-5BA7D84BF10C}">
      <dgm:prSet/>
      <dgm:spPr/>
      <dgm:t>
        <a:bodyPr/>
        <a:lstStyle/>
        <a:p>
          <a:endParaRPr lang="en-GB" noProof="0" dirty="0"/>
        </a:p>
      </dgm:t>
    </dgm:pt>
    <dgm:pt modelId="{55162BED-CD93-44E3-B1AD-D4D13923F08F}" type="sibTrans" cxnId="{41A4FA35-425C-4EE5-8D47-5BA7D84BF10C}">
      <dgm:prSet/>
      <dgm:spPr/>
      <dgm:t>
        <a:bodyPr/>
        <a:lstStyle/>
        <a:p>
          <a:endParaRPr lang="en-GB" noProof="0" dirty="0"/>
        </a:p>
      </dgm:t>
    </dgm:pt>
    <dgm:pt modelId="{C93C7B6F-B489-465F-884B-8B58EAADEA6A}">
      <dgm:prSet phldrT="[Text]"/>
      <dgm:spPr>
        <a:xfrm>
          <a:off x="1926959" y="940580"/>
          <a:ext cx="1198968" cy="502437"/>
        </a:xfr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deliverables</a:t>
          </a:r>
          <a:endParaRPr lang="en-GB" b="1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E17156A1-6841-43A6-8E5B-155AFDA2AEBA}" type="parTrans" cxnId="{9DDE9831-E249-422E-9366-BC3CA8D1F8EC}">
      <dgm:prSet/>
      <dgm:spPr/>
      <dgm:t>
        <a:bodyPr/>
        <a:lstStyle/>
        <a:p>
          <a:endParaRPr lang="en-GB" noProof="0" dirty="0"/>
        </a:p>
      </dgm:t>
    </dgm:pt>
    <dgm:pt modelId="{67C057AE-AC21-4EFF-B9EA-2BF7971315F3}" type="sibTrans" cxnId="{9DDE9831-E249-422E-9366-BC3CA8D1F8EC}">
      <dgm:prSet/>
      <dgm:spPr>
        <a:xfrm>
          <a:off x="3307686" y="958805"/>
          <a:ext cx="385329" cy="298508"/>
        </a:xfr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E7555737-2C83-4D57-A011-E5E65C19197C}">
      <dgm:prSet phldrT="[Text]"/>
      <dgm:spPr>
        <a:xfrm>
          <a:off x="3852964" y="940580"/>
          <a:ext cx="1198968" cy="502437"/>
        </a:xfr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outputs </a:t>
          </a:r>
          <a:endParaRPr lang="en-GB" b="1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304FF3C0-1C2B-499D-8DDD-3C9C4F8F4A3B}" type="parTrans" cxnId="{6DE55D0B-F626-4A6B-9ABE-B929879A7814}">
      <dgm:prSet/>
      <dgm:spPr/>
      <dgm:t>
        <a:bodyPr/>
        <a:lstStyle/>
        <a:p>
          <a:endParaRPr lang="en-GB" noProof="0" dirty="0"/>
        </a:p>
      </dgm:t>
    </dgm:pt>
    <dgm:pt modelId="{08CED555-49BF-4A65-886B-81E485F7170A}" type="sibTrans" cxnId="{6DE55D0B-F626-4A6B-9ABE-B929879A7814}">
      <dgm:prSet/>
      <dgm:spPr>
        <a:xfrm>
          <a:off x="5233692" y="958805"/>
          <a:ext cx="385329" cy="298508"/>
        </a:xfr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626F1640-7B4B-401A-8C02-1D3645C3B815}">
      <dgm:prSet phldrT="[Text]" custT="1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sz="11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is the outcomes of my activities?</a:t>
          </a:r>
          <a:endParaRPr lang="en-GB" sz="11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900E9169-AA12-463B-9C0A-CAC918484BDF}" type="parTrans" cxnId="{8B875720-4F64-4F83-9877-320F8C0146B0}">
      <dgm:prSet/>
      <dgm:spPr/>
      <dgm:t>
        <a:bodyPr/>
        <a:lstStyle/>
        <a:p>
          <a:endParaRPr lang="en-GB" noProof="0" dirty="0"/>
        </a:p>
      </dgm:t>
    </dgm:pt>
    <dgm:pt modelId="{6A911727-BD31-4D02-88CE-B4F8EB6C4276}" type="sibTrans" cxnId="{8B875720-4F64-4F83-9877-320F8C0146B0}">
      <dgm:prSet/>
      <dgm:spPr/>
      <dgm:t>
        <a:bodyPr/>
        <a:lstStyle/>
        <a:p>
          <a:endParaRPr lang="en-GB" noProof="0" dirty="0"/>
        </a:p>
      </dgm:t>
    </dgm:pt>
    <dgm:pt modelId="{7296DCE0-1200-410E-9480-E1D351DAD029}">
      <dgm:prSet phldrT="[Text]"/>
      <dgm:spPr>
        <a:xfrm>
          <a:off x="4098536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are the </a:t>
          </a:r>
          <a:r>
            <a:rPr lang="en-GB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final products </a:t>
          </a:r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of the implementation of my activities?</a:t>
          </a:r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0DA811AF-AC9F-4597-8955-CF94EE28C9FB}" type="parTrans" cxnId="{D07FCA14-2D2A-4553-889C-1A5DB627E064}">
      <dgm:prSet/>
      <dgm:spPr/>
      <dgm:t>
        <a:bodyPr/>
        <a:lstStyle/>
        <a:p>
          <a:endParaRPr lang="en-GB" noProof="0" dirty="0"/>
        </a:p>
      </dgm:t>
    </dgm:pt>
    <dgm:pt modelId="{63CCCDE5-ED30-40CB-92D7-AE6DC14AB9C7}" type="sibTrans" cxnId="{D07FCA14-2D2A-4553-889C-1A5DB627E064}">
      <dgm:prSet/>
      <dgm:spPr/>
      <dgm:t>
        <a:bodyPr/>
        <a:lstStyle/>
        <a:p>
          <a:endParaRPr lang="en-GB" noProof="0" dirty="0"/>
        </a:p>
      </dgm:t>
    </dgm:pt>
    <dgm:pt modelId="{7A82351F-F41C-4EB8-98EE-4B804A8CAE34}">
      <dgm:prSet/>
      <dgm:spPr>
        <a:solidFill>
          <a:schemeClr val="accent2"/>
        </a:solidFill>
      </dgm:spPr>
      <dgm:t>
        <a:bodyPr/>
        <a:lstStyle/>
        <a:p>
          <a:r>
            <a:rPr lang="de-DE" dirty="0" smtClean="0"/>
            <a:t>Project </a:t>
          </a:r>
          <a:r>
            <a:rPr lang="en-GB" b="1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results</a:t>
          </a:r>
          <a:endParaRPr lang="de-DE" dirty="0"/>
        </a:p>
      </dgm:t>
    </dgm:pt>
    <dgm:pt modelId="{59517962-05E1-42A9-B292-0B3F30BF1095}" type="parTrans" cxnId="{54000917-BD28-4104-8CE1-F43281A64BB7}">
      <dgm:prSet/>
      <dgm:spPr/>
      <dgm:t>
        <a:bodyPr/>
        <a:lstStyle/>
        <a:p>
          <a:endParaRPr lang="de-DE"/>
        </a:p>
      </dgm:t>
    </dgm:pt>
    <dgm:pt modelId="{254D57B8-2D17-4527-935A-3CD95E5EDD20}" type="sibTrans" cxnId="{54000917-BD28-4104-8CE1-F43281A64BB7}">
      <dgm:prSet/>
      <dgm:spPr>
        <a:xfrm>
          <a:off x="3307686" y="958805"/>
          <a:ext cx="385329" cy="2985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gm:spPr>
      <dgm:t>
        <a:bodyPr/>
        <a:lstStyle/>
        <a:p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5FF9F450-AED4-4242-8695-3078E2906CCC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de-DE" dirty="0" err="1" smtClean="0"/>
            <a:t>What</a:t>
          </a:r>
          <a:r>
            <a:rPr lang="de-DE" dirty="0" smtClean="0"/>
            <a:t> </a:t>
          </a:r>
          <a:r>
            <a:rPr lang="de-DE" dirty="0" err="1" smtClean="0"/>
            <a:t>is</a:t>
          </a:r>
          <a:r>
            <a:rPr lang="de-DE" dirty="0" smtClean="0"/>
            <a:t> </a:t>
          </a:r>
          <a:r>
            <a:rPr lang="de-DE" dirty="0" err="1" smtClean="0"/>
            <a:t>the</a:t>
          </a:r>
          <a:r>
            <a:rPr lang="de-DE" dirty="0" smtClean="0"/>
            <a:t> immediate </a:t>
          </a:r>
          <a:r>
            <a:rPr lang="de-DE" dirty="0" err="1" smtClean="0"/>
            <a:t>foreseable</a:t>
          </a:r>
          <a:r>
            <a:rPr lang="de-DE" dirty="0" smtClean="0"/>
            <a:t> </a:t>
          </a:r>
          <a:r>
            <a:rPr lang="de-DE" dirty="0" err="1" smtClean="0"/>
            <a:t>change</a:t>
          </a:r>
          <a:r>
            <a:rPr lang="de-DE" dirty="0" smtClean="0"/>
            <a:t> </a:t>
          </a:r>
          <a:r>
            <a:rPr lang="de-DE" dirty="0" err="1" smtClean="0"/>
            <a:t>my</a:t>
          </a:r>
          <a:r>
            <a:rPr lang="de-DE" dirty="0" smtClean="0"/>
            <a:t> </a:t>
          </a:r>
          <a:r>
            <a:rPr lang="de-DE" dirty="0" err="1" smtClean="0"/>
            <a:t>project</a:t>
          </a:r>
          <a:r>
            <a:rPr lang="de-DE" dirty="0" smtClean="0"/>
            <a:t> </a:t>
          </a:r>
          <a:r>
            <a:rPr lang="de-DE" dirty="0" err="1" smtClean="0"/>
            <a:t>brings</a:t>
          </a:r>
          <a:r>
            <a:rPr lang="de-DE" dirty="0" smtClean="0"/>
            <a:t> and </a:t>
          </a:r>
          <a:r>
            <a:rPr lang="de-DE" dirty="0" err="1" smtClean="0"/>
            <a:t>how</a:t>
          </a:r>
          <a:r>
            <a:rPr lang="de-DE" dirty="0" smtClean="0"/>
            <a:t> </a:t>
          </a:r>
          <a:r>
            <a:rPr lang="de-DE" dirty="0" err="1" smtClean="0"/>
            <a:t>is</a:t>
          </a:r>
          <a:r>
            <a:rPr lang="de-DE" dirty="0" smtClean="0"/>
            <a:t> </a:t>
          </a:r>
          <a:r>
            <a:rPr lang="de-DE" dirty="0" err="1" smtClean="0"/>
            <a:t>it</a:t>
          </a:r>
          <a:r>
            <a:rPr lang="de-DE" dirty="0" smtClean="0"/>
            <a:t> </a:t>
          </a:r>
          <a:r>
            <a:rPr lang="de-DE" dirty="0" err="1" smtClean="0"/>
            <a:t>taken</a:t>
          </a:r>
          <a:r>
            <a:rPr lang="de-DE" dirty="0" smtClean="0"/>
            <a:t> on </a:t>
          </a:r>
          <a:r>
            <a:rPr lang="de-DE" dirty="0" err="1" smtClean="0"/>
            <a:t>board</a:t>
          </a:r>
          <a:r>
            <a:rPr lang="de-DE" dirty="0" smtClean="0"/>
            <a:t> </a:t>
          </a:r>
          <a:r>
            <a:rPr lang="de-DE" dirty="0" err="1" smtClean="0"/>
            <a:t>by</a:t>
          </a:r>
          <a:r>
            <a:rPr lang="de-DE" dirty="0" smtClean="0"/>
            <a:t> relevant </a:t>
          </a:r>
          <a:r>
            <a:rPr lang="de-DE" dirty="0" err="1" smtClean="0"/>
            <a:t>stakeholders</a:t>
          </a:r>
          <a:r>
            <a:rPr lang="de-DE" dirty="0" smtClean="0"/>
            <a:t>?</a:t>
          </a:r>
          <a:endParaRPr lang="de-DE" dirty="0"/>
        </a:p>
      </dgm:t>
    </dgm:pt>
    <dgm:pt modelId="{ABC6F67F-5B65-49B2-AB2C-CCAAF34CA601}" type="parTrans" cxnId="{9DD9F384-EE94-4CC6-B656-DC14ED63CB12}">
      <dgm:prSet/>
      <dgm:spPr/>
      <dgm:t>
        <a:bodyPr/>
        <a:lstStyle/>
        <a:p>
          <a:endParaRPr lang="de-DE"/>
        </a:p>
      </dgm:t>
    </dgm:pt>
    <dgm:pt modelId="{1AECC7ED-C11B-4621-BF10-3516B24A844A}" type="sibTrans" cxnId="{9DD9F384-EE94-4CC6-B656-DC14ED63CB12}">
      <dgm:prSet/>
      <dgm:spPr/>
      <dgm:t>
        <a:bodyPr/>
        <a:lstStyle/>
        <a:p>
          <a:endParaRPr lang="de-DE"/>
        </a:p>
      </dgm:t>
    </dgm:pt>
    <dgm:pt modelId="{0645BC81-BB14-4C9C-8246-13AA4ED3AD40}">
      <dgm:prSet phldrT="[Text]" custT="1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sz="11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How do I capture the implementation of my activities (report, study, working document)?</a:t>
          </a:r>
          <a:endParaRPr lang="en-GB" sz="11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5477C9D2-714E-41BC-88CC-611FAAD1E4DC}" type="parTrans" cxnId="{3CE610A0-C801-4B40-A72B-699603157479}">
      <dgm:prSet/>
      <dgm:spPr/>
      <dgm:t>
        <a:bodyPr/>
        <a:lstStyle/>
        <a:p>
          <a:endParaRPr lang="de-DE"/>
        </a:p>
      </dgm:t>
    </dgm:pt>
    <dgm:pt modelId="{9CEEA724-4E46-4D57-82C4-A2367BCE2199}" type="sibTrans" cxnId="{3CE610A0-C801-4B40-A72B-699603157479}">
      <dgm:prSet/>
      <dgm:spPr/>
      <dgm:t>
        <a:bodyPr/>
        <a:lstStyle/>
        <a:p>
          <a:endParaRPr lang="de-DE"/>
        </a:p>
      </dgm:t>
    </dgm:pt>
    <dgm:pt modelId="{8E07EA49-0A7A-44F3-B4BF-99B3C748A891}">
      <dgm:prSet phldrT="[Text]"/>
      <dgm:spPr>
        <a:xfrm>
          <a:off x="4098536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To which programme output indicators do they contribute?</a:t>
          </a:r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911BE3D3-7CAD-45A0-BAB5-6BA27DFB46F2}" type="parTrans" cxnId="{4CCC3A6E-999F-40D5-99DE-6480FA235CDE}">
      <dgm:prSet/>
      <dgm:spPr/>
      <dgm:t>
        <a:bodyPr/>
        <a:lstStyle/>
        <a:p>
          <a:endParaRPr lang="de-DE"/>
        </a:p>
      </dgm:t>
    </dgm:pt>
    <dgm:pt modelId="{9ED4DC92-698C-4B08-A5EC-019017B5717F}" type="sibTrans" cxnId="{4CCC3A6E-999F-40D5-99DE-6480FA235CDE}">
      <dgm:prSet/>
      <dgm:spPr/>
      <dgm:t>
        <a:bodyPr/>
        <a:lstStyle/>
        <a:p>
          <a:endParaRPr lang="de-DE"/>
        </a:p>
      </dgm:t>
    </dgm:pt>
    <dgm:pt modelId="{A07E213A-67C1-449A-8B97-0AC745097A81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GB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To which programme result indicators do my results contribute?</a:t>
          </a:r>
          <a:endParaRPr lang="de-DE" dirty="0"/>
        </a:p>
      </dgm:t>
    </dgm:pt>
    <dgm:pt modelId="{04EDEE4E-9666-4578-8C9F-0F0E40B16418}" type="parTrans" cxnId="{3F5998F4-2A9A-499B-84AA-CDF3D44C7962}">
      <dgm:prSet/>
      <dgm:spPr/>
      <dgm:t>
        <a:bodyPr/>
        <a:lstStyle/>
        <a:p>
          <a:endParaRPr lang="de-DE"/>
        </a:p>
      </dgm:t>
    </dgm:pt>
    <dgm:pt modelId="{4AB00BD7-4423-4642-8C67-29AAE958BD63}" type="sibTrans" cxnId="{3F5998F4-2A9A-499B-84AA-CDF3D44C7962}">
      <dgm:prSet/>
      <dgm:spPr/>
      <dgm:t>
        <a:bodyPr/>
        <a:lstStyle/>
        <a:p>
          <a:endParaRPr lang="de-DE"/>
        </a:p>
      </dgm:t>
    </dgm:pt>
    <dgm:pt modelId="{CC9BB4DD-40AA-452F-93EA-46B7206CC4C5}">
      <dgm:prSet phldrT="[Text]" custT="1"/>
      <dgm:spPr>
        <a:xfrm>
          <a:off x="2172531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GB" sz="11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6CA11169-8ED3-40B6-8612-E5CA8767495A}" type="parTrans" cxnId="{7EA45B47-8D50-49B7-AED3-15925B3F7A9A}">
      <dgm:prSet/>
      <dgm:spPr/>
      <dgm:t>
        <a:bodyPr/>
        <a:lstStyle/>
        <a:p>
          <a:endParaRPr lang="de-DE"/>
        </a:p>
      </dgm:t>
    </dgm:pt>
    <dgm:pt modelId="{F733C34E-3080-4242-A035-A4D66C0E4725}" type="sibTrans" cxnId="{7EA45B47-8D50-49B7-AED3-15925B3F7A9A}">
      <dgm:prSet/>
      <dgm:spPr/>
      <dgm:t>
        <a:bodyPr/>
        <a:lstStyle/>
        <a:p>
          <a:endParaRPr lang="de-DE"/>
        </a:p>
      </dgm:t>
    </dgm:pt>
    <dgm:pt modelId="{0F6E77D4-3C92-49D4-B9B9-6F046A1124E3}">
      <dgm:prSet phldrT="[Text]"/>
      <dgm:spPr>
        <a:xfrm>
          <a:off x="4098536" y="1275539"/>
          <a:ext cx="1198968" cy="66420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GB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02655477-9DF1-49B3-8A09-C2DD38AE5EEF}" type="parTrans" cxnId="{95B3234D-93BD-4111-9510-C888658DA433}">
      <dgm:prSet/>
      <dgm:spPr/>
    </dgm:pt>
    <dgm:pt modelId="{B50D9DD8-B37F-4B54-8A40-5848DE35C490}" type="sibTrans" cxnId="{95B3234D-93BD-4111-9510-C888658DA433}">
      <dgm:prSet/>
      <dgm:spPr/>
    </dgm:pt>
    <dgm:pt modelId="{8E4F7594-1604-4EF3-A43F-AFE97679709A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de-DE" dirty="0"/>
        </a:p>
      </dgm:t>
    </dgm:pt>
    <dgm:pt modelId="{01AA9825-5271-4744-9B01-D20FB783294D}" type="parTrans" cxnId="{F520D55A-6128-4848-B4BB-29C8D9872827}">
      <dgm:prSet/>
      <dgm:spPr/>
    </dgm:pt>
    <dgm:pt modelId="{F5534747-826F-4CEF-B762-B8E9436D4C54}" type="sibTrans" cxnId="{F520D55A-6128-4848-B4BB-29C8D9872827}">
      <dgm:prSet/>
      <dgm:spPr/>
    </dgm:pt>
    <dgm:pt modelId="{A8A5A6FF-1404-4F5F-AFB6-96B5B43839E5}" type="pres">
      <dgm:prSet presAssocID="{51259840-C7D4-42F8-A0D8-19BA1E57E32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AT"/>
        </a:p>
      </dgm:t>
    </dgm:pt>
    <dgm:pt modelId="{695FD939-FF1F-4DD6-AA7F-2D4FEA81FB96}" type="pres">
      <dgm:prSet presAssocID="{A438EA2D-A868-4EA7-BCAD-FEF879EC7189}" presName="composite" presStyleCnt="0"/>
      <dgm:spPr/>
    </dgm:pt>
    <dgm:pt modelId="{2E0B1D77-3F21-4B74-892F-DDBB30253330}" type="pres">
      <dgm:prSet presAssocID="{A438EA2D-A868-4EA7-BCAD-FEF879EC7189}" presName="parTx" presStyleLbl="node1" presStyleIdx="0" presStyleCnt="4">
        <dgm:presLayoutVars>
          <dgm:chMax val="0"/>
          <dgm:chPref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59F74786-5688-448E-8E6B-5C3E153C319B}" type="pres">
      <dgm:prSet presAssocID="{A438EA2D-A868-4EA7-BCAD-FEF879EC7189}" presName="parSh" presStyleLbl="node1" presStyleIdx="0" presStyleCnt="4"/>
      <dgm:spPr/>
      <dgm:t>
        <a:bodyPr/>
        <a:lstStyle/>
        <a:p>
          <a:endParaRPr lang="de-AT"/>
        </a:p>
      </dgm:t>
    </dgm:pt>
    <dgm:pt modelId="{CB42D2D1-AB80-439E-B110-810C5DC81EC9}" type="pres">
      <dgm:prSet presAssocID="{A438EA2D-A868-4EA7-BCAD-FEF879EC7189}" presName="desTx" presStyleLbl="fgAcc1" presStyleIdx="0" presStyleCnt="4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7E3EBFAF-CCBB-4B13-A5C0-24F6B1B77D99}" type="pres">
      <dgm:prSet presAssocID="{A26D4729-72CD-4C13-96AF-5D8D828928E4}" presName="sibTrans" presStyleLbl="sibTrans2D1" presStyleIdx="0" presStyleCnt="3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de-AT"/>
        </a:p>
      </dgm:t>
    </dgm:pt>
    <dgm:pt modelId="{B5C83265-042C-40FD-995F-1EDB4F76C29E}" type="pres">
      <dgm:prSet presAssocID="{A26D4729-72CD-4C13-96AF-5D8D828928E4}" presName="connTx" presStyleLbl="sibTrans2D1" presStyleIdx="0" presStyleCnt="3"/>
      <dgm:spPr/>
      <dgm:t>
        <a:bodyPr/>
        <a:lstStyle/>
        <a:p>
          <a:endParaRPr lang="de-AT"/>
        </a:p>
      </dgm:t>
    </dgm:pt>
    <dgm:pt modelId="{8BBD0D1C-D7BB-4C1C-89DB-2C510F5FCE1C}" type="pres">
      <dgm:prSet presAssocID="{C93C7B6F-B489-465F-884B-8B58EAADEA6A}" presName="composite" presStyleCnt="0"/>
      <dgm:spPr/>
    </dgm:pt>
    <dgm:pt modelId="{8BD5518D-C77B-4A8C-9ED1-4E8844C81A51}" type="pres">
      <dgm:prSet presAssocID="{C93C7B6F-B489-465F-884B-8B58EAADEA6A}" presName="parTx" presStyleLbl="node1" presStyleIdx="0" presStyleCnt="4">
        <dgm:presLayoutVars>
          <dgm:chMax val="0"/>
          <dgm:chPref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F82CDC61-8521-4BD3-92BA-4013A7BCAF73}" type="pres">
      <dgm:prSet presAssocID="{C93C7B6F-B489-465F-884B-8B58EAADEA6A}" presName="parSh" presStyleLbl="node1" presStyleIdx="1" presStyleCnt="4"/>
      <dgm:spPr/>
      <dgm:t>
        <a:bodyPr/>
        <a:lstStyle/>
        <a:p>
          <a:endParaRPr lang="de-AT"/>
        </a:p>
      </dgm:t>
    </dgm:pt>
    <dgm:pt modelId="{E97133B4-C378-4CEB-9802-E42218BC7974}" type="pres">
      <dgm:prSet presAssocID="{C93C7B6F-B489-465F-884B-8B58EAADEA6A}" presName="desTx" presStyleLbl="fgAcc1" presStyleIdx="1" presStyleCnt="4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47F649D3-3D8C-41BD-9E7C-DD0B5D44F606}" type="pres">
      <dgm:prSet presAssocID="{67C057AE-AC21-4EFF-B9EA-2BF7971315F3}" presName="sibTrans" presStyleLbl="sibTrans2D1" presStyleIdx="1" presStyleCnt="3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de-AT"/>
        </a:p>
      </dgm:t>
    </dgm:pt>
    <dgm:pt modelId="{94FB51BC-A042-4CE9-BD6D-07C9B6549EBB}" type="pres">
      <dgm:prSet presAssocID="{67C057AE-AC21-4EFF-B9EA-2BF7971315F3}" presName="connTx" presStyleLbl="sibTrans2D1" presStyleIdx="1" presStyleCnt="3"/>
      <dgm:spPr/>
      <dgm:t>
        <a:bodyPr/>
        <a:lstStyle/>
        <a:p>
          <a:endParaRPr lang="de-AT"/>
        </a:p>
      </dgm:t>
    </dgm:pt>
    <dgm:pt modelId="{2B1EF9D4-CADB-4F74-94E6-EA90E7EF06C4}" type="pres">
      <dgm:prSet presAssocID="{E7555737-2C83-4D57-A011-E5E65C19197C}" presName="composite" presStyleCnt="0"/>
      <dgm:spPr/>
    </dgm:pt>
    <dgm:pt modelId="{3489A6D6-6324-4820-8A7D-F28FDE905367}" type="pres">
      <dgm:prSet presAssocID="{E7555737-2C83-4D57-A011-E5E65C19197C}" presName="parTx" presStyleLbl="node1" presStyleIdx="1" presStyleCnt="4">
        <dgm:presLayoutVars>
          <dgm:chMax val="0"/>
          <dgm:chPref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AF60309C-C560-4EB0-A10C-D0D981E37D31}" type="pres">
      <dgm:prSet presAssocID="{E7555737-2C83-4D57-A011-E5E65C19197C}" presName="parSh" presStyleLbl="node1" presStyleIdx="2" presStyleCnt="4"/>
      <dgm:spPr/>
      <dgm:t>
        <a:bodyPr/>
        <a:lstStyle/>
        <a:p>
          <a:endParaRPr lang="de-AT"/>
        </a:p>
      </dgm:t>
    </dgm:pt>
    <dgm:pt modelId="{9C580061-6795-4674-BADA-5A66C35CD8FF}" type="pres">
      <dgm:prSet presAssocID="{E7555737-2C83-4D57-A011-E5E65C19197C}" presName="desTx" presStyleLbl="fgAcc1" presStyleIdx="2" presStyleCnt="4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de-AT"/>
        </a:p>
      </dgm:t>
    </dgm:pt>
    <dgm:pt modelId="{BBC4CA9C-CC2C-4191-BA82-85C6CBC3F149}" type="pres">
      <dgm:prSet presAssocID="{08CED555-49BF-4A65-886B-81E485F7170A}" presName="sibTrans" presStyleLbl="sibTrans2D1" presStyleIdx="2" presStyleCnt="3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de-DE"/>
        </a:p>
      </dgm:t>
    </dgm:pt>
    <dgm:pt modelId="{05C8E7C3-0D8C-4E78-A9E9-9035FEAA5559}" type="pres">
      <dgm:prSet presAssocID="{08CED555-49BF-4A65-886B-81E485F7170A}" presName="connTx" presStyleLbl="sibTrans2D1" presStyleIdx="2" presStyleCnt="3"/>
      <dgm:spPr/>
      <dgm:t>
        <a:bodyPr/>
        <a:lstStyle/>
        <a:p>
          <a:endParaRPr lang="de-DE"/>
        </a:p>
      </dgm:t>
    </dgm:pt>
    <dgm:pt modelId="{0848CB11-A046-435D-8FA7-8E46F9ECF959}" type="pres">
      <dgm:prSet presAssocID="{7A82351F-F41C-4EB8-98EE-4B804A8CAE34}" presName="composite" presStyleCnt="0"/>
      <dgm:spPr/>
    </dgm:pt>
    <dgm:pt modelId="{EA146220-289A-4FF8-AAE1-72042381A47C}" type="pres">
      <dgm:prSet presAssocID="{7A82351F-F41C-4EB8-98EE-4B804A8CAE34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4194174-95F8-43E5-9629-ABBB8DE7B233}" type="pres">
      <dgm:prSet presAssocID="{7A82351F-F41C-4EB8-98EE-4B804A8CAE34}" presName="parSh" presStyleLbl="node1" presStyleIdx="3" presStyleCnt="4"/>
      <dgm:spPr/>
      <dgm:t>
        <a:bodyPr/>
        <a:lstStyle/>
        <a:p>
          <a:endParaRPr lang="de-DE"/>
        </a:p>
      </dgm:t>
    </dgm:pt>
    <dgm:pt modelId="{6005DBA3-8DBD-41DC-B9C5-E8D7DBCED38D}" type="pres">
      <dgm:prSet presAssocID="{7A82351F-F41C-4EB8-98EE-4B804A8CAE34}" presName="desTx" presStyleLbl="fgAcc1" presStyleIdx="3" presStyleCnt="4" custScaleX="104097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86C92E0-F05A-4F94-9545-5306375AE772}" type="presOf" srcId="{8E4F7594-1604-4EF3-A43F-AFE97679709A}" destId="{6005DBA3-8DBD-41DC-B9C5-E8D7DBCED38D}" srcOrd="0" destOrd="1" presId="urn:microsoft.com/office/officeart/2005/8/layout/process3"/>
    <dgm:cxn modelId="{5ED6D31E-4EEF-4CFA-9CD2-D033D6E83E33}" type="presOf" srcId="{A438EA2D-A868-4EA7-BCAD-FEF879EC7189}" destId="{59F74786-5688-448E-8E6B-5C3E153C319B}" srcOrd="1" destOrd="0" presId="urn:microsoft.com/office/officeart/2005/8/layout/process3"/>
    <dgm:cxn modelId="{2F5F21BD-3F6E-4627-A178-D398585DE4DF}" type="presOf" srcId="{C93C7B6F-B489-465F-884B-8B58EAADEA6A}" destId="{F82CDC61-8521-4BD3-92BA-4013A7BCAF73}" srcOrd="1" destOrd="0" presId="urn:microsoft.com/office/officeart/2005/8/layout/process3"/>
    <dgm:cxn modelId="{86917B01-C59C-4177-B36C-40292D99DA45}" type="presOf" srcId="{7A82351F-F41C-4EB8-98EE-4B804A8CAE34}" destId="{64194174-95F8-43E5-9629-ABBB8DE7B233}" srcOrd="1" destOrd="0" presId="urn:microsoft.com/office/officeart/2005/8/layout/process3"/>
    <dgm:cxn modelId="{8EA175AE-EA16-4EBD-BAB0-8718C8793747}" type="presOf" srcId="{A26D4729-72CD-4C13-96AF-5D8D828928E4}" destId="{7E3EBFAF-CCBB-4B13-A5C0-24F6B1B77D99}" srcOrd="0" destOrd="0" presId="urn:microsoft.com/office/officeart/2005/8/layout/process3"/>
    <dgm:cxn modelId="{E39F8067-A6D6-4826-88AF-91BDDF4B2A5C}" type="presOf" srcId="{0F6E77D4-3C92-49D4-B9B9-6F046A1124E3}" destId="{9C580061-6795-4674-BADA-5A66C35CD8FF}" srcOrd="0" destOrd="1" presId="urn:microsoft.com/office/officeart/2005/8/layout/process3"/>
    <dgm:cxn modelId="{9FA07767-E6C7-4774-BAFA-3530E4C05C7D}" type="presOf" srcId="{A438EA2D-A868-4EA7-BCAD-FEF879EC7189}" destId="{2E0B1D77-3F21-4B74-892F-DDBB30253330}" srcOrd="0" destOrd="0" presId="urn:microsoft.com/office/officeart/2005/8/layout/process3"/>
    <dgm:cxn modelId="{41A4FA35-425C-4EE5-8D47-5BA7D84BF10C}" srcId="{A438EA2D-A868-4EA7-BCAD-FEF879EC7189}" destId="{864FAFA0-D391-4491-A1DC-D4EF98DB5BAE}" srcOrd="0" destOrd="0" parTransId="{5931F579-EFA7-4846-9F1A-26B3487365F1}" sibTransId="{55162BED-CD93-44E3-B1AD-D4D13923F08F}"/>
    <dgm:cxn modelId="{61AE4A38-FDE0-47E0-A1BE-95F73B72CC58}" type="presOf" srcId="{A07E213A-67C1-449A-8B97-0AC745097A81}" destId="{6005DBA3-8DBD-41DC-B9C5-E8D7DBCED38D}" srcOrd="0" destOrd="2" presId="urn:microsoft.com/office/officeart/2005/8/layout/process3"/>
    <dgm:cxn modelId="{6DE55D0B-F626-4A6B-9ABE-B929879A7814}" srcId="{51259840-C7D4-42F8-A0D8-19BA1E57E32E}" destId="{E7555737-2C83-4D57-A011-E5E65C19197C}" srcOrd="2" destOrd="0" parTransId="{304FF3C0-1C2B-499D-8DDD-3C9C4F8F4A3B}" sibTransId="{08CED555-49BF-4A65-886B-81E485F7170A}"/>
    <dgm:cxn modelId="{19794B5D-1751-44AE-8483-0A1997376155}" type="presOf" srcId="{5FF9F450-AED4-4242-8695-3078E2906CCC}" destId="{6005DBA3-8DBD-41DC-B9C5-E8D7DBCED38D}" srcOrd="0" destOrd="0" presId="urn:microsoft.com/office/officeart/2005/8/layout/process3"/>
    <dgm:cxn modelId="{5B9E4215-4D09-4B75-A4C4-1019508F7F33}" type="presOf" srcId="{E7555737-2C83-4D57-A011-E5E65C19197C}" destId="{3489A6D6-6324-4820-8A7D-F28FDE905367}" srcOrd="0" destOrd="0" presId="urn:microsoft.com/office/officeart/2005/8/layout/process3"/>
    <dgm:cxn modelId="{E9E5A1C9-54EE-437C-92C0-1F15EDCB9605}" type="presOf" srcId="{8E07EA49-0A7A-44F3-B4BF-99B3C748A891}" destId="{9C580061-6795-4674-BADA-5A66C35CD8FF}" srcOrd="0" destOrd="2" presId="urn:microsoft.com/office/officeart/2005/8/layout/process3"/>
    <dgm:cxn modelId="{62ECD061-A4E7-4812-B3B8-CE01875ADCBC}" type="presOf" srcId="{7A82351F-F41C-4EB8-98EE-4B804A8CAE34}" destId="{EA146220-289A-4FF8-AAE1-72042381A47C}" srcOrd="0" destOrd="0" presId="urn:microsoft.com/office/officeart/2005/8/layout/process3"/>
    <dgm:cxn modelId="{9DDE9831-E249-422E-9366-BC3CA8D1F8EC}" srcId="{51259840-C7D4-42F8-A0D8-19BA1E57E32E}" destId="{C93C7B6F-B489-465F-884B-8B58EAADEA6A}" srcOrd="1" destOrd="0" parTransId="{E17156A1-6841-43A6-8E5B-155AFDA2AEBA}" sibTransId="{67C057AE-AC21-4EFF-B9EA-2BF7971315F3}"/>
    <dgm:cxn modelId="{4CCC3A6E-999F-40D5-99DE-6480FA235CDE}" srcId="{E7555737-2C83-4D57-A011-E5E65C19197C}" destId="{8E07EA49-0A7A-44F3-B4BF-99B3C748A891}" srcOrd="2" destOrd="0" parTransId="{911BE3D3-7CAD-45A0-BAB5-6BA27DFB46F2}" sibTransId="{9ED4DC92-698C-4B08-A5EC-019017B5717F}"/>
    <dgm:cxn modelId="{8B875720-4F64-4F83-9877-320F8C0146B0}" srcId="{C93C7B6F-B489-465F-884B-8B58EAADEA6A}" destId="{626F1640-7B4B-401A-8C02-1D3645C3B815}" srcOrd="0" destOrd="0" parTransId="{900E9169-AA12-463B-9C0A-CAC918484BDF}" sibTransId="{6A911727-BD31-4D02-88CE-B4F8EB6C4276}"/>
    <dgm:cxn modelId="{54000917-BD28-4104-8CE1-F43281A64BB7}" srcId="{51259840-C7D4-42F8-A0D8-19BA1E57E32E}" destId="{7A82351F-F41C-4EB8-98EE-4B804A8CAE34}" srcOrd="3" destOrd="0" parTransId="{59517962-05E1-42A9-B292-0B3F30BF1095}" sibTransId="{254D57B8-2D17-4527-935A-3CD95E5EDD20}"/>
    <dgm:cxn modelId="{4F03FECF-7E59-4238-886B-39615185AE34}" type="presOf" srcId="{67C057AE-AC21-4EFF-B9EA-2BF7971315F3}" destId="{47F649D3-3D8C-41BD-9E7C-DD0B5D44F606}" srcOrd="0" destOrd="0" presId="urn:microsoft.com/office/officeart/2005/8/layout/process3"/>
    <dgm:cxn modelId="{9DD9F384-EE94-4CC6-B656-DC14ED63CB12}" srcId="{7A82351F-F41C-4EB8-98EE-4B804A8CAE34}" destId="{5FF9F450-AED4-4242-8695-3078E2906CCC}" srcOrd="0" destOrd="0" parTransId="{ABC6F67F-5B65-49B2-AB2C-CCAAF34CA601}" sibTransId="{1AECC7ED-C11B-4621-BF10-3516B24A844A}"/>
    <dgm:cxn modelId="{98C3D478-284F-4459-8A01-F045038E9EF1}" type="presOf" srcId="{08CED555-49BF-4A65-886B-81E485F7170A}" destId="{BBC4CA9C-CC2C-4191-BA82-85C6CBC3F149}" srcOrd="0" destOrd="0" presId="urn:microsoft.com/office/officeart/2005/8/layout/process3"/>
    <dgm:cxn modelId="{06D45436-170C-4527-AE98-6E603CDD0394}" type="presOf" srcId="{CC9BB4DD-40AA-452F-93EA-46B7206CC4C5}" destId="{E97133B4-C378-4CEB-9802-E42218BC7974}" srcOrd="0" destOrd="1" presId="urn:microsoft.com/office/officeart/2005/8/layout/process3"/>
    <dgm:cxn modelId="{1B08696C-9877-4FB7-B864-742B1985F2B9}" type="presOf" srcId="{A26D4729-72CD-4C13-96AF-5D8D828928E4}" destId="{B5C83265-042C-40FD-995F-1EDB4F76C29E}" srcOrd="1" destOrd="0" presId="urn:microsoft.com/office/officeart/2005/8/layout/process3"/>
    <dgm:cxn modelId="{F8E78A72-7A59-4374-8815-5232F702D618}" type="presOf" srcId="{51259840-C7D4-42F8-A0D8-19BA1E57E32E}" destId="{A8A5A6FF-1404-4F5F-AFB6-96B5B43839E5}" srcOrd="0" destOrd="0" presId="urn:microsoft.com/office/officeart/2005/8/layout/process3"/>
    <dgm:cxn modelId="{192C5B99-166D-4A41-94B0-B51403132534}" type="presOf" srcId="{08CED555-49BF-4A65-886B-81E485F7170A}" destId="{05C8E7C3-0D8C-4E78-A9E9-9035FEAA5559}" srcOrd="1" destOrd="0" presId="urn:microsoft.com/office/officeart/2005/8/layout/process3"/>
    <dgm:cxn modelId="{95B3234D-93BD-4111-9510-C888658DA433}" srcId="{E7555737-2C83-4D57-A011-E5E65C19197C}" destId="{0F6E77D4-3C92-49D4-B9B9-6F046A1124E3}" srcOrd="1" destOrd="0" parTransId="{02655477-9DF1-49B3-8A09-C2DD38AE5EEF}" sibTransId="{B50D9DD8-B37F-4B54-8A40-5848DE35C490}"/>
    <dgm:cxn modelId="{8F8CF5F6-A956-4AEF-9251-06A91E630DFD}" type="presOf" srcId="{C93C7B6F-B489-465F-884B-8B58EAADEA6A}" destId="{8BD5518D-C77B-4A8C-9ED1-4E8844C81A51}" srcOrd="0" destOrd="0" presId="urn:microsoft.com/office/officeart/2005/8/layout/process3"/>
    <dgm:cxn modelId="{0B40CB8B-4DEA-4B3F-B951-6F04594C96DD}" type="presOf" srcId="{67C057AE-AC21-4EFF-B9EA-2BF7971315F3}" destId="{94FB51BC-A042-4CE9-BD6D-07C9B6549EBB}" srcOrd="1" destOrd="0" presId="urn:microsoft.com/office/officeart/2005/8/layout/process3"/>
    <dgm:cxn modelId="{F86F77E7-22DB-4DED-90E0-C2456AEF316C}" type="presOf" srcId="{0645BC81-BB14-4C9C-8246-13AA4ED3AD40}" destId="{E97133B4-C378-4CEB-9802-E42218BC7974}" srcOrd="0" destOrd="2" presId="urn:microsoft.com/office/officeart/2005/8/layout/process3"/>
    <dgm:cxn modelId="{3CE610A0-C801-4B40-A72B-699603157479}" srcId="{C93C7B6F-B489-465F-884B-8B58EAADEA6A}" destId="{0645BC81-BB14-4C9C-8246-13AA4ED3AD40}" srcOrd="2" destOrd="0" parTransId="{5477C9D2-714E-41BC-88CC-611FAAD1E4DC}" sibTransId="{9CEEA724-4E46-4D57-82C4-A2367BCE2199}"/>
    <dgm:cxn modelId="{93B6F7A5-FFA3-4A42-9938-51FA13E83C67}" type="presOf" srcId="{E7555737-2C83-4D57-A011-E5E65C19197C}" destId="{AF60309C-C560-4EB0-A10C-D0D981E37D31}" srcOrd="1" destOrd="0" presId="urn:microsoft.com/office/officeart/2005/8/layout/process3"/>
    <dgm:cxn modelId="{3F5998F4-2A9A-499B-84AA-CDF3D44C7962}" srcId="{7A82351F-F41C-4EB8-98EE-4B804A8CAE34}" destId="{A07E213A-67C1-449A-8B97-0AC745097A81}" srcOrd="2" destOrd="0" parTransId="{04EDEE4E-9666-4578-8C9F-0F0E40B16418}" sibTransId="{4AB00BD7-4423-4642-8C67-29AAE958BD63}"/>
    <dgm:cxn modelId="{F520D55A-6128-4848-B4BB-29C8D9872827}" srcId="{7A82351F-F41C-4EB8-98EE-4B804A8CAE34}" destId="{8E4F7594-1604-4EF3-A43F-AFE97679709A}" srcOrd="1" destOrd="0" parTransId="{01AA9825-5271-4744-9B01-D20FB783294D}" sibTransId="{F5534747-826F-4CEF-B762-B8E9436D4C54}"/>
    <dgm:cxn modelId="{CBDF0CA1-A8F2-4283-9818-54E83A3C1354}" type="presOf" srcId="{626F1640-7B4B-401A-8C02-1D3645C3B815}" destId="{E97133B4-C378-4CEB-9802-E42218BC7974}" srcOrd="0" destOrd="0" presId="urn:microsoft.com/office/officeart/2005/8/layout/process3"/>
    <dgm:cxn modelId="{1C5E9CB2-DF7E-4A5C-86CB-A556515F4183}" type="presOf" srcId="{864FAFA0-D391-4491-A1DC-D4EF98DB5BAE}" destId="{CB42D2D1-AB80-439E-B110-810C5DC81EC9}" srcOrd="0" destOrd="0" presId="urn:microsoft.com/office/officeart/2005/8/layout/process3"/>
    <dgm:cxn modelId="{D07FCA14-2D2A-4553-889C-1A5DB627E064}" srcId="{E7555737-2C83-4D57-A011-E5E65C19197C}" destId="{7296DCE0-1200-410E-9480-E1D351DAD029}" srcOrd="0" destOrd="0" parTransId="{0DA811AF-AC9F-4597-8955-CF94EE28C9FB}" sibTransId="{63CCCDE5-ED30-40CB-92D7-AE6DC14AB9C7}"/>
    <dgm:cxn modelId="{32A02921-E8B9-4A6F-9DA7-F5C8C4DA9EA9}" type="presOf" srcId="{7296DCE0-1200-410E-9480-E1D351DAD029}" destId="{9C580061-6795-4674-BADA-5A66C35CD8FF}" srcOrd="0" destOrd="0" presId="urn:microsoft.com/office/officeart/2005/8/layout/process3"/>
    <dgm:cxn modelId="{A00C85E2-9DE4-4038-AB31-20D6E8F7A87D}" srcId="{51259840-C7D4-42F8-A0D8-19BA1E57E32E}" destId="{A438EA2D-A868-4EA7-BCAD-FEF879EC7189}" srcOrd="0" destOrd="0" parTransId="{28F2192C-E647-409B-8732-69F67027AD19}" sibTransId="{A26D4729-72CD-4C13-96AF-5D8D828928E4}"/>
    <dgm:cxn modelId="{7EA45B47-8D50-49B7-AED3-15925B3F7A9A}" srcId="{C93C7B6F-B489-465F-884B-8B58EAADEA6A}" destId="{CC9BB4DD-40AA-452F-93EA-46B7206CC4C5}" srcOrd="1" destOrd="0" parTransId="{6CA11169-8ED3-40B6-8612-E5CA8767495A}" sibTransId="{F733C34E-3080-4242-A035-A4D66C0E4725}"/>
    <dgm:cxn modelId="{2ADE28B9-9068-4D1B-999C-F447E32E1841}" type="presParOf" srcId="{A8A5A6FF-1404-4F5F-AFB6-96B5B43839E5}" destId="{695FD939-FF1F-4DD6-AA7F-2D4FEA81FB96}" srcOrd="0" destOrd="0" presId="urn:microsoft.com/office/officeart/2005/8/layout/process3"/>
    <dgm:cxn modelId="{3091A918-F1B8-4206-853D-DBC169F2CD1D}" type="presParOf" srcId="{695FD939-FF1F-4DD6-AA7F-2D4FEA81FB96}" destId="{2E0B1D77-3F21-4B74-892F-DDBB30253330}" srcOrd="0" destOrd="0" presId="urn:microsoft.com/office/officeart/2005/8/layout/process3"/>
    <dgm:cxn modelId="{A84E65AA-A3A8-428B-A2ED-8062F0C876EF}" type="presParOf" srcId="{695FD939-FF1F-4DD6-AA7F-2D4FEA81FB96}" destId="{59F74786-5688-448E-8E6B-5C3E153C319B}" srcOrd="1" destOrd="0" presId="urn:microsoft.com/office/officeart/2005/8/layout/process3"/>
    <dgm:cxn modelId="{DDE62003-A60E-40E5-8771-4EA403092758}" type="presParOf" srcId="{695FD939-FF1F-4DD6-AA7F-2D4FEA81FB96}" destId="{CB42D2D1-AB80-439E-B110-810C5DC81EC9}" srcOrd="2" destOrd="0" presId="urn:microsoft.com/office/officeart/2005/8/layout/process3"/>
    <dgm:cxn modelId="{F6E41F30-B764-4FBB-9795-961852263A2F}" type="presParOf" srcId="{A8A5A6FF-1404-4F5F-AFB6-96B5B43839E5}" destId="{7E3EBFAF-CCBB-4B13-A5C0-24F6B1B77D99}" srcOrd="1" destOrd="0" presId="urn:microsoft.com/office/officeart/2005/8/layout/process3"/>
    <dgm:cxn modelId="{77288D09-5F4E-4AEB-BCAC-18B526A1A985}" type="presParOf" srcId="{7E3EBFAF-CCBB-4B13-A5C0-24F6B1B77D99}" destId="{B5C83265-042C-40FD-995F-1EDB4F76C29E}" srcOrd="0" destOrd="0" presId="urn:microsoft.com/office/officeart/2005/8/layout/process3"/>
    <dgm:cxn modelId="{213ABDEF-C211-432C-B3D3-5037AE155C5F}" type="presParOf" srcId="{A8A5A6FF-1404-4F5F-AFB6-96B5B43839E5}" destId="{8BBD0D1C-D7BB-4C1C-89DB-2C510F5FCE1C}" srcOrd="2" destOrd="0" presId="urn:microsoft.com/office/officeart/2005/8/layout/process3"/>
    <dgm:cxn modelId="{2A8BD4F7-EDBC-41A5-98A5-7B68601758D0}" type="presParOf" srcId="{8BBD0D1C-D7BB-4C1C-89DB-2C510F5FCE1C}" destId="{8BD5518D-C77B-4A8C-9ED1-4E8844C81A51}" srcOrd="0" destOrd="0" presId="urn:microsoft.com/office/officeart/2005/8/layout/process3"/>
    <dgm:cxn modelId="{8AB58BEF-3BAF-4128-9549-9FD98E73DCF2}" type="presParOf" srcId="{8BBD0D1C-D7BB-4C1C-89DB-2C510F5FCE1C}" destId="{F82CDC61-8521-4BD3-92BA-4013A7BCAF73}" srcOrd="1" destOrd="0" presId="urn:microsoft.com/office/officeart/2005/8/layout/process3"/>
    <dgm:cxn modelId="{DE86E051-03B1-4F20-BE22-F4C7E07B61DF}" type="presParOf" srcId="{8BBD0D1C-D7BB-4C1C-89DB-2C510F5FCE1C}" destId="{E97133B4-C378-4CEB-9802-E42218BC7974}" srcOrd="2" destOrd="0" presId="urn:microsoft.com/office/officeart/2005/8/layout/process3"/>
    <dgm:cxn modelId="{92B45486-BAFC-4D62-9E29-170B4F1906DE}" type="presParOf" srcId="{A8A5A6FF-1404-4F5F-AFB6-96B5B43839E5}" destId="{47F649D3-3D8C-41BD-9E7C-DD0B5D44F606}" srcOrd="3" destOrd="0" presId="urn:microsoft.com/office/officeart/2005/8/layout/process3"/>
    <dgm:cxn modelId="{38AD71AD-FD1F-4C5F-9943-2244F64B566D}" type="presParOf" srcId="{47F649D3-3D8C-41BD-9E7C-DD0B5D44F606}" destId="{94FB51BC-A042-4CE9-BD6D-07C9B6549EBB}" srcOrd="0" destOrd="0" presId="urn:microsoft.com/office/officeart/2005/8/layout/process3"/>
    <dgm:cxn modelId="{807AB43C-D030-4203-A1F3-71235321845C}" type="presParOf" srcId="{A8A5A6FF-1404-4F5F-AFB6-96B5B43839E5}" destId="{2B1EF9D4-CADB-4F74-94E6-EA90E7EF06C4}" srcOrd="4" destOrd="0" presId="urn:microsoft.com/office/officeart/2005/8/layout/process3"/>
    <dgm:cxn modelId="{CCD377F6-5AC8-4C67-A42B-B04955F51D70}" type="presParOf" srcId="{2B1EF9D4-CADB-4F74-94E6-EA90E7EF06C4}" destId="{3489A6D6-6324-4820-8A7D-F28FDE905367}" srcOrd="0" destOrd="0" presId="urn:microsoft.com/office/officeart/2005/8/layout/process3"/>
    <dgm:cxn modelId="{66B8FAA3-B486-4992-B690-1EE847D6BE8B}" type="presParOf" srcId="{2B1EF9D4-CADB-4F74-94E6-EA90E7EF06C4}" destId="{AF60309C-C560-4EB0-A10C-D0D981E37D31}" srcOrd="1" destOrd="0" presId="urn:microsoft.com/office/officeart/2005/8/layout/process3"/>
    <dgm:cxn modelId="{219DF5BD-2E0D-4A55-8D09-E2A1EBDFB78C}" type="presParOf" srcId="{2B1EF9D4-CADB-4F74-94E6-EA90E7EF06C4}" destId="{9C580061-6795-4674-BADA-5A66C35CD8FF}" srcOrd="2" destOrd="0" presId="urn:microsoft.com/office/officeart/2005/8/layout/process3"/>
    <dgm:cxn modelId="{27747C52-54F5-46FB-92C4-94C95F56D16F}" type="presParOf" srcId="{A8A5A6FF-1404-4F5F-AFB6-96B5B43839E5}" destId="{BBC4CA9C-CC2C-4191-BA82-85C6CBC3F149}" srcOrd="5" destOrd="0" presId="urn:microsoft.com/office/officeart/2005/8/layout/process3"/>
    <dgm:cxn modelId="{B145695E-A405-4F69-866E-66C50F157BCE}" type="presParOf" srcId="{BBC4CA9C-CC2C-4191-BA82-85C6CBC3F149}" destId="{05C8E7C3-0D8C-4E78-A9E9-9035FEAA5559}" srcOrd="0" destOrd="0" presId="urn:microsoft.com/office/officeart/2005/8/layout/process3"/>
    <dgm:cxn modelId="{72CD6785-BF56-4247-A5FB-DBFEC00EE00F}" type="presParOf" srcId="{A8A5A6FF-1404-4F5F-AFB6-96B5B43839E5}" destId="{0848CB11-A046-435D-8FA7-8E46F9ECF959}" srcOrd="6" destOrd="0" presId="urn:microsoft.com/office/officeart/2005/8/layout/process3"/>
    <dgm:cxn modelId="{23F5BBA3-717A-44EA-8838-103910AC09DB}" type="presParOf" srcId="{0848CB11-A046-435D-8FA7-8E46F9ECF959}" destId="{EA146220-289A-4FF8-AAE1-72042381A47C}" srcOrd="0" destOrd="0" presId="urn:microsoft.com/office/officeart/2005/8/layout/process3"/>
    <dgm:cxn modelId="{DAA8F525-A451-4D3F-8427-F41840215A69}" type="presParOf" srcId="{0848CB11-A046-435D-8FA7-8E46F9ECF959}" destId="{64194174-95F8-43E5-9629-ABBB8DE7B233}" srcOrd="1" destOrd="0" presId="urn:microsoft.com/office/officeart/2005/8/layout/process3"/>
    <dgm:cxn modelId="{4CD173E6-906C-48CA-9BAB-B4B4F25BAB5A}" type="presParOf" srcId="{0848CB11-A046-435D-8FA7-8E46F9ECF959}" destId="{6005DBA3-8DBD-41DC-B9C5-E8D7DBCED38D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F74786-5688-448E-8E6B-5C3E153C319B}">
      <dsp:nvSpPr>
        <dsp:cNvPr id="0" name=""/>
        <dsp:cNvSpPr/>
      </dsp:nvSpPr>
      <dsp:spPr>
        <a:xfrm>
          <a:off x="4226" y="238584"/>
          <a:ext cx="1921520" cy="900456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idea</a:t>
          </a:r>
          <a:endParaRPr lang="en-GB" sz="1500" b="1" kern="1200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sp:txBody>
      <dsp:txXfrm>
        <a:off x="21808" y="256166"/>
        <a:ext cx="1886356" cy="565140"/>
      </dsp:txXfrm>
    </dsp:sp>
    <dsp:sp modelId="{CB42D2D1-AB80-439E-B110-810C5DC81EC9}">
      <dsp:nvSpPr>
        <dsp:cNvPr id="0" name=""/>
        <dsp:cNvSpPr/>
      </dsp:nvSpPr>
      <dsp:spPr>
        <a:xfrm>
          <a:off x="397790" y="838889"/>
          <a:ext cx="1921520" cy="2700000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are our common needs and potentials?</a:t>
          </a:r>
          <a:endParaRPr lang="en-GB" sz="15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>
        <a:off x="454069" y="895168"/>
        <a:ext cx="1808962" cy="2587442"/>
      </dsp:txXfrm>
    </dsp:sp>
    <dsp:sp modelId="{7E3EBFAF-CCBB-4B13-A5C0-24F6B1B77D99}">
      <dsp:nvSpPr>
        <dsp:cNvPr id="0" name=""/>
        <dsp:cNvSpPr/>
      </dsp:nvSpPr>
      <dsp:spPr>
        <a:xfrm>
          <a:off x="2217042" y="299535"/>
          <a:ext cx="617546" cy="4784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2217042" y="395216"/>
        <a:ext cx="474025" cy="287041"/>
      </dsp:txXfrm>
    </dsp:sp>
    <dsp:sp modelId="{F82CDC61-8521-4BD3-92BA-4013A7BCAF73}">
      <dsp:nvSpPr>
        <dsp:cNvPr id="0" name=""/>
        <dsp:cNvSpPr/>
      </dsp:nvSpPr>
      <dsp:spPr>
        <a:xfrm>
          <a:off x="3090929" y="238584"/>
          <a:ext cx="1921520" cy="900456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objective</a:t>
          </a:r>
          <a:endParaRPr lang="en-GB" sz="1500" b="1" kern="1200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sp:txBody>
      <dsp:txXfrm>
        <a:off x="3108511" y="256166"/>
        <a:ext cx="1886356" cy="565140"/>
      </dsp:txXfrm>
    </dsp:sp>
    <dsp:sp modelId="{E97133B4-C378-4CEB-9802-E42218BC7974}">
      <dsp:nvSpPr>
        <dsp:cNvPr id="0" name=""/>
        <dsp:cNvSpPr/>
      </dsp:nvSpPr>
      <dsp:spPr>
        <a:xfrm>
          <a:off x="3484493" y="838889"/>
          <a:ext cx="1921520" cy="2700000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do we want to change in the programme area?</a:t>
          </a:r>
          <a:endParaRPr lang="en-GB" sz="15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5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is the added value?</a:t>
          </a:r>
          <a:endParaRPr lang="en-GB" sz="15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5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How does this contribute to the programme? </a:t>
          </a:r>
          <a:endParaRPr lang="en-GB" sz="15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>
        <a:off x="3540772" y="895168"/>
        <a:ext cx="1808962" cy="2587442"/>
      </dsp:txXfrm>
    </dsp:sp>
    <dsp:sp modelId="{47F649D3-3D8C-41BD-9E7C-DD0B5D44F606}">
      <dsp:nvSpPr>
        <dsp:cNvPr id="0" name=""/>
        <dsp:cNvSpPr/>
      </dsp:nvSpPr>
      <dsp:spPr>
        <a:xfrm>
          <a:off x="5303745" y="299535"/>
          <a:ext cx="617546" cy="4784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303745" y="395216"/>
        <a:ext cx="474025" cy="287041"/>
      </dsp:txXfrm>
    </dsp:sp>
    <dsp:sp modelId="{AF60309C-C560-4EB0-A10C-D0D981E37D31}">
      <dsp:nvSpPr>
        <dsp:cNvPr id="0" name=""/>
        <dsp:cNvSpPr/>
      </dsp:nvSpPr>
      <dsp:spPr>
        <a:xfrm>
          <a:off x="6177632" y="238584"/>
          <a:ext cx="1921520" cy="900456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specific objectives </a:t>
          </a:r>
          <a:endParaRPr lang="en-GB" sz="1500" b="1" kern="1200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sp:txBody>
      <dsp:txXfrm>
        <a:off x="6195214" y="256166"/>
        <a:ext cx="1886356" cy="565140"/>
      </dsp:txXfrm>
    </dsp:sp>
    <dsp:sp modelId="{9C580061-6795-4674-BADA-5A66C35CD8FF}">
      <dsp:nvSpPr>
        <dsp:cNvPr id="0" name=""/>
        <dsp:cNvSpPr/>
      </dsp:nvSpPr>
      <dsp:spPr>
        <a:xfrm>
          <a:off x="6571197" y="838889"/>
          <a:ext cx="1921520" cy="2700000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What are the immediate goals we can achieve within the project lifetime?</a:t>
          </a:r>
          <a:endParaRPr lang="en-GB" sz="1500" kern="1200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500" kern="1200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How do they contribute to the overall project objective?</a:t>
          </a:r>
          <a:endParaRPr lang="en-GB" sz="1500" kern="1200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</dsp:txBody>
      <dsp:txXfrm>
        <a:off x="6627476" y="895168"/>
        <a:ext cx="1808962" cy="25874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F74786-5688-448E-8E6B-5C3E153C319B}">
      <dsp:nvSpPr>
        <dsp:cNvPr id="0" name=""/>
        <dsp:cNvSpPr/>
      </dsp:nvSpPr>
      <dsp:spPr>
        <a:xfrm>
          <a:off x="2348" y="404746"/>
          <a:ext cx="1440838" cy="657685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activities</a:t>
          </a:r>
          <a:endParaRPr lang="en-GB" sz="1100" b="1" kern="1200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sp:txBody>
      <dsp:txXfrm>
        <a:off x="15190" y="417588"/>
        <a:ext cx="1415154" cy="412773"/>
      </dsp:txXfrm>
    </dsp:sp>
    <dsp:sp modelId="{CB42D2D1-AB80-439E-B110-810C5DC81EC9}">
      <dsp:nvSpPr>
        <dsp:cNvPr id="0" name=""/>
        <dsp:cNvSpPr/>
      </dsp:nvSpPr>
      <dsp:spPr>
        <a:xfrm>
          <a:off x="297459" y="843204"/>
          <a:ext cx="1440838" cy="2352796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What are the necessary steps or tasks we need to implement?</a:t>
          </a:r>
          <a:endParaRPr lang="en-GB" sz="1100" kern="1200" noProof="0" dirty="0">
            <a:solidFill>
              <a:schemeClr val="tx1"/>
            </a:solidFill>
            <a:latin typeface="+mj-lt"/>
            <a:ea typeface="+mn-ea"/>
            <a:cs typeface="+mn-cs"/>
          </a:endParaRPr>
        </a:p>
      </dsp:txBody>
      <dsp:txXfrm>
        <a:off x="339660" y="885405"/>
        <a:ext cx="1356436" cy="2268394"/>
      </dsp:txXfrm>
    </dsp:sp>
    <dsp:sp modelId="{7E3EBFAF-CCBB-4B13-A5C0-24F6B1B77D99}">
      <dsp:nvSpPr>
        <dsp:cNvPr id="0" name=""/>
        <dsp:cNvSpPr/>
      </dsp:nvSpPr>
      <dsp:spPr>
        <a:xfrm>
          <a:off x="1661612" y="444612"/>
          <a:ext cx="463062" cy="3587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9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1661612" y="516357"/>
        <a:ext cx="355444" cy="215237"/>
      </dsp:txXfrm>
    </dsp:sp>
    <dsp:sp modelId="{F82CDC61-8521-4BD3-92BA-4013A7BCAF73}">
      <dsp:nvSpPr>
        <dsp:cNvPr id="0" name=""/>
        <dsp:cNvSpPr/>
      </dsp:nvSpPr>
      <dsp:spPr>
        <a:xfrm>
          <a:off x="2316889" y="404746"/>
          <a:ext cx="1440838" cy="657685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deliverables</a:t>
          </a:r>
          <a:endParaRPr lang="en-GB" sz="1100" b="1" kern="1200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sp:txBody>
      <dsp:txXfrm>
        <a:off x="2329731" y="417588"/>
        <a:ext cx="1415154" cy="412773"/>
      </dsp:txXfrm>
    </dsp:sp>
    <dsp:sp modelId="{E97133B4-C378-4CEB-9802-E42218BC7974}">
      <dsp:nvSpPr>
        <dsp:cNvPr id="0" name=""/>
        <dsp:cNvSpPr/>
      </dsp:nvSpPr>
      <dsp:spPr>
        <a:xfrm>
          <a:off x="2612001" y="843204"/>
          <a:ext cx="1440838" cy="2352796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is the outcomes of my activities?</a:t>
          </a:r>
          <a:endParaRPr lang="en-GB" sz="11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1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How do I capture the implementation of my activities (report, study, working document)?</a:t>
          </a:r>
          <a:endParaRPr lang="en-GB" sz="11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>
        <a:off x="2654202" y="885405"/>
        <a:ext cx="1356436" cy="2268394"/>
      </dsp:txXfrm>
    </dsp:sp>
    <dsp:sp modelId="{47F649D3-3D8C-41BD-9E7C-DD0B5D44F606}">
      <dsp:nvSpPr>
        <dsp:cNvPr id="0" name=""/>
        <dsp:cNvSpPr/>
      </dsp:nvSpPr>
      <dsp:spPr>
        <a:xfrm>
          <a:off x="3976154" y="444612"/>
          <a:ext cx="463062" cy="3587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9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3976154" y="516357"/>
        <a:ext cx="355444" cy="215237"/>
      </dsp:txXfrm>
    </dsp:sp>
    <dsp:sp modelId="{AF60309C-C560-4EB0-A10C-D0D981E37D31}">
      <dsp:nvSpPr>
        <dsp:cNvPr id="0" name=""/>
        <dsp:cNvSpPr/>
      </dsp:nvSpPr>
      <dsp:spPr>
        <a:xfrm>
          <a:off x="4631431" y="404746"/>
          <a:ext cx="1440838" cy="657685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Project outputs </a:t>
          </a:r>
          <a:endParaRPr lang="en-GB" sz="1100" b="1" kern="1200" noProof="0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sp:txBody>
      <dsp:txXfrm>
        <a:off x="4644273" y="417588"/>
        <a:ext cx="1415154" cy="412773"/>
      </dsp:txXfrm>
    </dsp:sp>
    <dsp:sp modelId="{9C580061-6795-4674-BADA-5A66C35CD8FF}">
      <dsp:nvSpPr>
        <dsp:cNvPr id="0" name=""/>
        <dsp:cNvSpPr/>
      </dsp:nvSpPr>
      <dsp:spPr>
        <a:xfrm>
          <a:off x="4926543" y="843204"/>
          <a:ext cx="1440838" cy="2352796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What are the </a:t>
          </a:r>
          <a:r>
            <a:rPr lang="en-GB" sz="1100" kern="1200" noProof="0" dirty="0" smtClean="0">
              <a:solidFill>
                <a:schemeClr val="tx1"/>
              </a:solidFill>
              <a:latin typeface="+mj-lt"/>
              <a:ea typeface="+mn-ea"/>
              <a:cs typeface="+mn-cs"/>
            </a:rPr>
            <a:t>final products </a:t>
          </a:r>
          <a:r>
            <a:rPr lang="en-GB" sz="11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of the implementation of my activities?</a:t>
          </a:r>
          <a:endParaRPr lang="en-GB" sz="11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1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To which programme output indicators do they contribute?</a:t>
          </a:r>
          <a:endParaRPr lang="en-GB" sz="11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>
        <a:off x="4968744" y="885405"/>
        <a:ext cx="1356436" cy="2268394"/>
      </dsp:txXfrm>
    </dsp:sp>
    <dsp:sp modelId="{BBC4CA9C-CC2C-4191-BA82-85C6CBC3F149}">
      <dsp:nvSpPr>
        <dsp:cNvPr id="0" name=""/>
        <dsp:cNvSpPr/>
      </dsp:nvSpPr>
      <dsp:spPr>
        <a:xfrm>
          <a:off x="6290695" y="444612"/>
          <a:ext cx="463062" cy="3587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9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6290695" y="516357"/>
        <a:ext cx="355444" cy="215237"/>
      </dsp:txXfrm>
    </dsp:sp>
    <dsp:sp modelId="{64194174-95F8-43E5-9629-ABBB8DE7B233}">
      <dsp:nvSpPr>
        <dsp:cNvPr id="0" name=""/>
        <dsp:cNvSpPr/>
      </dsp:nvSpPr>
      <dsp:spPr>
        <a:xfrm>
          <a:off x="6945973" y="404746"/>
          <a:ext cx="1440838" cy="657685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/>
            <a:t>Project </a:t>
          </a:r>
          <a:r>
            <a:rPr lang="en-GB" sz="1100" b="1" kern="1200" noProof="0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results</a:t>
          </a:r>
          <a:endParaRPr lang="de-DE" sz="1100" kern="1200" dirty="0"/>
        </a:p>
      </dsp:txBody>
      <dsp:txXfrm>
        <a:off x="6945973" y="404746"/>
        <a:ext cx="1440838" cy="438457"/>
      </dsp:txXfrm>
    </dsp:sp>
    <dsp:sp modelId="{6005DBA3-8DBD-41DC-B9C5-E8D7DBCED38D}">
      <dsp:nvSpPr>
        <dsp:cNvPr id="0" name=""/>
        <dsp:cNvSpPr/>
      </dsp:nvSpPr>
      <dsp:spPr>
        <a:xfrm>
          <a:off x="7211569" y="843204"/>
          <a:ext cx="1499869" cy="23527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err="1" smtClean="0"/>
            <a:t>What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is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the</a:t>
          </a:r>
          <a:r>
            <a:rPr lang="de-DE" sz="1100" kern="1200" dirty="0" smtClean="0"/>
            <a:t> immediate </a:t>
          </a:r>
          <a:r>
            <a:rPr lang="de-DE" sz="1100" kern="1200" dirty="0" err="1" smtClean="0"/>
            <a:t>foreseable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change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my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project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brings</a:t>
          </a:r>
          <a:r>
            <a:rPr lang="de-DE" sz="1100" kern="1200" dirty="0" smtClean="0"/>
            <a:t> and </a:t>
          </a:r>
          <a:r>
            <a:rPr lang="de-DE" sz="1100" kern="1200" dirty="0" err="1" smtClean="0"/>
            <a:t>how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is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it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taken</a:t>
          </a:r>
          <a:r>
            <a:rPr lang="de-DE" sz="1100" kern="1200" dirty="0" smtClean="0"/>
            <a:t> on </a:t>
          </a:r>
          <a:r>
            <a:rPr lang="de-DE" sz="1100" kern="1200" dirty="0" err="1" smtClean="0"/>
            <a:t>board</a:t>
          </a:r>
          <a:r>
            <a:rPr lang="de-DE" sz="1100" kern="1200" dirty="0" smtClean="0"/>
            <a:t> </a:t>
          </a:r>
          <a:r>
            <a:rPr lang="de-DE" sz="1100" kern="1200" dirty="0" err="1" smtClean="0"/>
            <a:t>by</a:t>
          </a:r>
          <a:r>
            <a:rPr lang="de-DE" sz="1100" kern="1200" dirty="0" smtClean="0"/>
            <a:t> relevant </a:t>
          </a:r>
          <a:r>
            <a:rPr lang="de-DE" sz="1100" kern="1200" dirty="0" err="1" smtClean="0"/>
            <a:t>stakeholders</a:t>
          </a:r>
          <a:r>
            <a:rPr lang="de-DE" sz="1100" kern="1200" dirty="0" smtClean="0"/>
            <a:t>?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To which programme result indicators do my results contribute?</a:t>
          </a:r>
          <a:endParaRPr lang="de-DE" sz="1100" kern="1200" dirty="0"/>
        </a:p>
      </dsp:txBody>
      <dsp:txXfrm>
        <a:off x="7255499" y="887134"/>
        <a:ext cx="1412009" cy="22649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D91A0D-1A70-41E1-BC73-70A1729D0F04}" type="datetimeFigureOut">
              <a:rPr lang="de-DE" smtClean="0"/>
              <a:t>24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8E322-E53A-4292-A0BC-6248CBB672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167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.emf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8.xml"/><Relationship Id="rId9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emf"/><Relationship Id="rId4" Type="http://schemas.openxmlformats.org/officeDocument/2006/relationships/tags" Target="../tags/tag11.xml"/><Relationship Id="rId9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.emf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4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0"/>
            <a:ext cx="9906000" cy="4863807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15751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1810597"/>
            <a:ext cx="4969247" cy="4154043"/>
          </a:xfrm>
          <a:prstGeom prst="rect">
            <a:avLst/>
          </a:prstGeom>
        </p:spPr>
      </p:pic>
      <p:cxnSp>
        <p:nvCxnSpPr>
          <p:cNvPr id="5" name="Gerade Verbindung 12"/>
          <p:cNvCxnSpPr/>
          <p:nvPr userDrawn="1"/>
        </p:nvCxnSpPr>
        <p:spPr>
          <a:xfrm>
            <a:off x="632520" y="2708920"/>
            <a:ext cx="388843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2"/>
          <p:cNvCxnSpPr/>
          <p:nvPr userDrawn="1"/>
        </p:nvCxnSpPr>
        <p:spPr>
          <a:xfrm>
            <a:off x="5745088" y="2708920"/>
            <a:ext cx="3529087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21B70580-6681-7688-B4B9-2856F3E97B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40" y="332656"/>
            <a:ext cx="406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046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636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7347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7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0943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8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0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997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335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1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55663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54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125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3005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43847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2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048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8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8076112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7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850748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9122161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03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07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Untertitel 2"/>
          <p:cNvSpPr txBox="1">
            <a:spLocks/>
          </p:cNvSpPr>
          <p:nvPr/>
        </p:nvSpPr>
        <p:spPr>
          <a:xfrm>
            <a:off x="7285484" y="2259938"/>
            <a:ext cx="1987996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Nicolas</a:t>
            </a:r>
            <a:r>
              <a:rPr lang="de-DE" sz="1200" b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Chesnel</a:t>
            </a:r>
            <a:b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</a:br>
            <a: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Rainer</a:t>
            </a:r>
            <a:r>
              <a:rPr lang="de-DE" sz="1200" b="1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teindler</a:t>
            </a:r>
          </a:p>
          <a:p>
            <a:pPr>
              <a:spcBef>
                <a:spcPts val="600"/>
              </a:spcBef>
            </a:pPr>
            <a: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Clotilde Mahé</a:t>
            </a:r>
            <a:r>
              <a:rPr lang="de-DE" sz="1200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endParaRPr lang="de-DE" sz="1200" b="1" baseline="300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Freeform 53"/>
          <p:cNvSpPr>
            <a:spLocks/>
          </p:cNvSpPr>
          <p:nvPr/>
        </p:nvSpPr>
        <p:spPr bwMode="auto">
          <a:xfrm>
            <a:off x="3744913" y="2895923"/>
            <a:ext cx="1041400" cy="2079625"/>
          </a:xfrm>
          <a:custGeom>
            <a:avLst/>
            <a:gdLst>
              <a:gd name="T0" fmla="*/ 656 w 656"/>
              <a:gd name="T1" fmla="*/ 0 h 1310"/>
              <a:gd name="T2" fmla="*/ 656 w 656"/>
              <a:gd name="T3" fmla="*/ 0 h 1310"/>
              <a:gd name="T4" fmla="*/ 656 w 656"/>
              <a:gd name="T5" fmla="*/ 0 h 1310"/>
              <a:gd name="T6" fmla="*/ 328 w 656"/>
              <a:gd name="T7" fmla="*/ 328 h 1310"/>
              <a:gd name="T8" fmla="*/ 0 w 656"/>
              <a:gd name="T9" fmla="*/ 656 h 1310"/>
              <a:gd name="T10" fmla="*/ 0 w 656"/>
              <a:gd name="T11" fmla="*/ 656 h 1310"/>
              <a:gd name="T12" fmla="*/ 0 w 656"/>
              <a:gd name="T13" fmla="*/ 656 h 1310"/>
              <a:gd name="T14" fmla="*/ 0 w 656"/>
              <a:gd name="T15" fmla="*/ 1310 h 1310"/>
              <a:gd name="T16" fmla="*/ 0 w 656"/>
              <a:gd name="T17" fmla="*/ 1310 h 1310"/>
              <a:gd name="T18" fmla="*/ 0 w 656"/>
              <a:gd name="T19" fmla="*/ 1310 h 1310"/>
              <a:gd name="T20" fmla="*/ 656 w 656"/>
              <a:gd name="T21" fmla="*/ 656 h 1310"/>
              <a:gd name="T22" fmla="*/ 656 w 656"/>
              <a:gd name="T23" fmla="*/ 656 h 1310"/>
              <a:gd name="T24" fmla="*/ 656 w 656"/>
              <a:gd name="T25" fmla="*/ 656 h 1310"/>
              <a:gd name="T26" fmla="*/ 656 w 656"/>
              <a:gd name="T27" fmla="*/ 656 h 1310"/>
              <a:gd name="T28" fmla="*/ 656 w 656"/>
              <a:gd name="T29" fmla="*/ 0 h 1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1310">
                <a:moveTo>
                  <a:pt x="656" y="0"/>
                </a:moveTo>
                <a:lnTo>
                  <a:pt x="656" y="0"/>
                </a:lnTo>
                <a:lnTo>
                  <a:pt x="656" y="0"/>
                </a:lnTo>
                <a:lnTo>
                  <a:pt x="328" y="328"/>
                </a:lnTo>
                <a:lnTo>
                  <a:pt x="0" y="656"/>
                </a:lnTo>
                <a:lnTo>
                  <a:pt x="0" y="656"/>
                </a:lnTo>
                <a:lnTo>
                  <a:pt x="0" y="656"/>
                </a:lnTo>
                <a:lnTo>
                  <a:pt x="0" y="1310"/>
                </a:lnTo>
                <a:lnTo>
                  <a:pt x="0" y="1310"/>
                </a:lnTo>
                <a:lnTo>
                  <a:pt x="0" y="1310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34" name="Textplatzhalter 12"/>
          <p:cNvSpPr txBox="1">
            <a:spLocks/>
          </p:cNvSpPr>
          <p:nvPr/>
        </p:nvSpPr>
        <p:spPr>
          <a:xfrm>
            <a:off x="660748" y="1340768"/>
            <a:ext cx="8612732" cy="58722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ow to prepare a good application form</a:t>
            </a:r>
            <a:r>
              <a:rPr lang="de-DE" dirty="0"/>
              <a:t> </a:t>
            </a:r>
            <a:endParaRPr lang="de-DE" dirty="0" smtClean="0"/>
          </a:p>
          <a:p>
            <a:endParaRPr lang="de-DE" sz="2000" b="1" spc="100" baseline="30000" dirty="0">
              <a:cs typeface="Arial" panose="020B0604020202020204" pitchFamily="34" charset="0"/>
            </a:endParaRPr>
          </a:p>
          <a:p>
            <a:endParaRPr lang="de-AT" sz="2000" b="1" spc="100" baseline="30000" dirty="0">
              <a:cs typeface="Arial" panose="020B0604020202020204" pitchFamily="34" charset="0"/>
            </a:endParaRPr>
          </a:p>
        </p:txBody>
      </p:sp>
      <p:sp>
        <p:nvSpPr>
          <p:cNvPr id="15" name="Untertitel 2"/>
          <p:cNvSpPr txBox="1">
            <a:spLocks/>
          </p:cNvSpPr>
          <p:nvPr/>
        </p:nvSpPr>
        <p:spPr>
          <a:xfrm>
            <a:off x="660748" y="2708920"/>
            <a:ext cx="3572172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alzburg</a:t>
            </a:r>
            <a:r>
              <a:rPr lang="de-DE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| Austria </a:t>
            </a:r>
            <a:r>
              <a:rPr lang="de-DE" baseline="30000" dirty="0">
                <a:solidFill>
                  <a:schemeClr val="tx1"/>
                </a:solidFill>
                <a:latin typeface="Trebuchet MS" panose="020B0603020202020204" pitchFamily="34" charset="0"/>
              </a:rPr>
              <a:t>| </a:t>
            </a:r>
            <a:r>
              <a:rPr lang="de-DE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23-24.05.2022</a:t>
            </a:r>
            <a:endParaRPr lang="de-DE" baseline="300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Untertitel 2"/>
          <p:cNvSpPr txBox="1">
            <a:spLocks/>
          </p:cNvSpPr>
          <p:nvPr/>
        </p:nvSpPr>
        <p:spPr>
          <a:xfrm>
            <a:off x="693441" y="2259938"/>
            <a:ext cx="3572172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baseline="300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Applicants</a:t>
            </a:r>
            <a:r>
              <a:rPr lang="de-DE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b="1" baseline="300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eminar</a:t>
            </a:r>
            <a:endParaRPr lang="de-DE" b="1" baseline="300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13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4" grpId="0"/>
      <p:bldP spid="15" grpId="0"/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5" name="Diagramm 5"/>
          <p:cNvGraphicFramePr/>
          <p:nvPr>
            <p:extLst>
              <p:ext uri="{D42A27DB-BD31-4B8C-83A1-F6EECF244321}">
                <p14:modId xmlns:p14="http://schemas.microsoft.com/office/powerpoint/2010/main" val="353349574"/>
              </p:ext>
            </p:extLst>
          </p:nvPr>
        </p:nvGraphicFramePr>
        <p:xfrm>
          <a:off x="560512" y="1262751"/>
          <a:ext cx="8496944" cy="37774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33009882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sz="2400" dirty="0" smtClean="0">
                <a:solidFill>
                  <a:schemeClr val="accent1"/>
                </a:solidFill>
              </a:rPr>
              <a:t>PROJECT </a:t>
            </a:r>
            <a:r>
              <a:rPr lang="de-AT" sz="2400" dirty="0">
                <a:solidFill>
                  <a:schemeClr val="accent1"/>
                </a:solidFill>
              </a:rPr>
              <a:t>OBJECTIVE AND SPECIFIC </a:t>
            </a:r>
            <a:r>
              <a:rPr lang="de-AT" sz="2400" dirty="0" smtClean="0">
                <a:solidFill>
                  <a:schemeClr val="accent1"/>
                </a:solidFill>
              </a:rPr>
              <a:t>OBJECTIVES</a:t>
            </a:r>
          </a:p>
          <a:p>
            <a:endParaRPr lang="de-AT" dirty="0">
              <a:solidFill>
                <a:schemeClr val="accent1"/>
              </a:solidFill>
            </a:endParaRP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sz="2000" dirty="0" err="1"/>
              <a:t>Choose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ight</a:t>
            </a:r>
            <a:r>
              <a:rPr lang="de-DE" sz="2000" dirty="0"/>
              <a:t> </a:t>
            </a:r>
            <a:r>
              <a:rPr lang="de-DE" sz="2000" dirty="0" err="1"/>
              <a:t>programme</a:t>
            </a:r>
            <a:r>
              <a:rPr lang="de-DE" sz="2000" dirty="0"/>
              <a:t> </a:t>
            </a:r>
            <a:r>
              <a:rPr lang="de-DE" sz="2000" dirty="0" err="1"/>
              <a:t>specific</a:t>
            </a:r>
            <a:r>
              <a:rPr lang="de-DE" sz="2000" dirty="0"/>
              <a:t> </a:t>
            </a:r>
            <a:r>
              <a:rPr lang="de-DE" sz="2000" dirty="0" err="1"/>
              <a:t>objective</a:t>
            </a:r>
            <a:r>
              <a:rPr lang="de-DE" sz="2000" dirty="0"/>
              <a:t> in </a:t>
            </a:r>
            <a:r>
              <a:rPr lang="de-DE" sz="2000" dirty="0" err="1"/>
              <a:t>your</a:t>
            </a:r>
            <a:r>
              <a:rPr lang="de-DE" sz="2000" dirty="0"/>
              <a:t> </a:t>
            </a:r>
            <a:r>
              <a:rPr lang="de-DE" sz="2000" dirty="0" err="1"/>
              <a:t>priority</a:t>
            </a:r>
            <a:endParaRPr lang="de-DE" sz="2000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en-GB" sz="2000" dirty="0">
                <a:cs typeface="Arial" charset="0"/>
              </a:rPr>
              <a:t>Precise and explicit objective</a:t>
            </a: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en-GB" sz="2000" dirty="0" err="1">
                <a:cs typeface="Arial" charset="0"/>
              </a:rPr>
              <a:t>Transnationality</a:t>
            </a:r>
            <a:r>
              <a:rPr lang="en-GB" sz="2000" dirty="0">
                <a:cs typeface="Arial" charset="0"/>
              </a:rPr>
              <a:t> as key element</a:t>
            </a:r>
            <a:endParaRPr lang="de-DE" sz="2000" dirty="0">
              <a:cs typeface="Arial" charset="0"/>
            </a:endParaRP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6567475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11" name="Diagramm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3224503"/>
              </p:ext>
            </p:extLst>
          </p:nvPr>
        </p:nvGraphicFramePr>
        <p:xfrm>
          <a:off x="560388" y="1268413"/>
          <a:ext cx="8713787" cy="3600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765704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OUTPU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 smtClean="0"/>
              <a:t>Three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/s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Pilot </a:t>
            </a:r>
            <a:r>
              <a:rPr lang="de-DE" b="1" dirty="0" err="1"/>
              <a:t>action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jointly</a:t>
            </a:r>
            <a:r>
              <a:rPr lang="de-DE" dirty="0"/>
              <a:t> and </a:t>
            </a:r>
            <a:r>
              <a:rPr lang="de-DE" dirty="0" err="1"/>
              <a:t>implemented</a:t>
            </a:r>
            <a:r>
              <a:rPr lang="de-DE" dirty="0"/>
              <a:t> in </a:t>
            </a:r>
            <a:r>
              <a:rPr lang="de-DE" dirty="0" err="1" smtClean="0"/>
              <a:t>projects</a:t>
            </a:r>
            <a:endParaRPr lang="de-DE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Joi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b="1" dirty="0" err="1" smtClean="0"/>
              <a:t>solutions</a:t>
            </a:r>
            <a:endParaRPr lang="de-DE" b="1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473220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OUTPU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/>
              <a:t>Three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/s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chemeClr val="accent5"/>
                </a:solidFill>
              </a:rPr>
              <a:t>Pilot </a:t>
            </a:r>
            <a:r>
              <a:rPr lang="de-DE" b="1" dirty="0" err="1">
                <a:solidFill>
                  <a:schemeClr val="accent5"/>
                </a:solidFill>
              </a:rPr>
              <a:t>actions</a:t>
            </a:r>
            <a:r>
              <a:rPr lang="de-DE" dirty="0">
                <a:solidFill>
                  <a:schemeClr val="accent5"/>
                </a:solidFill>
              </a:rPr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jointly</a:t>
            </a:r>
            <a:r>
              <a:rPr lang="de-DE" dirty="0"/>
              <a:t> and </a:t>
            </a:r>
            <a:r>
              <a:rPr lang="de-DE" dirty="0" err="1"/>
              <a:t>implemented</a:t>
            </a:r>
            <a:r>
              <a:rPr lang="de-DE" dirty="0"/>
              <a:t> in </a:t>
            </a:r>
            <a:r>
              <a:rPr lang="de-DE" dirty="0" err="1" smtClean="0"/>
              <a:t>projects</a:t>
            </a:r>
            <a:endParaRPr lang="de-DE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Joi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b="1" dirty="0" err="1" smtClean="0"/>
              <a:t>solutions</a:t>
            </a:r>
            <a:endParaRPr lang="de-DE" b="1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124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OUTPU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/>
              <a:t>Three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/s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Pilot </a:t>
            </a:r>
            <a:r>
              <a:rPr lang="de-DE" b="1" dirty="0" err="1"/>
              <a:t>action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jointly</a:t>
            </a:r>
            <a:r>
              <a:rPr lang="de-DE" dirty="0"/>
              <a:t> and </a:t>
            </a:r>
            <a:r>
              <a:rPr lang="de-DE" dirty="0" err="1"/>
              <a:t>implemented</a:t>
            </a:r>
            <a:r>
              <a:rPr lang="de-DE" dirty="0"/>
              <a:t> in </a:t>
            </a:r>
            <a:r>
              <a:rPr lang="de-DE" dirty="0" err="1" smtClean="0"/>
              <a:t>projects</a:t>
            </a:r>
            <a:endParaRPr lang="de-DE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Joi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b="1" dirty="0" err="1" smtClean="0">
                <a:solidFill>
                  <a:schemeClr val="accent5"/>
                </a:solidFill>
              </a:rPr>
              <a:t>solutions</a:t>
            </a:r>
            <a:endParaRPr lang="de-DE" b="1" dirty="0" smtClean="0">
              <a:solidFill>
                <a:schemeClr val="accent5"/>
              </a:solidFill>
            </a:endParaRPr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9561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OUTPU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/>
              <a:t>Three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output</a:t>
            </a:r>
            <a:r>
              <a:rPr lang="de-DE" sz="1800" dirty="0"/>
              <a:t>/s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Pilot </a:t>
            </a:r>
            <a:r>
              <a:rPr lang="de-DE" b="1" dirty="0" err="1"/>
              <a:t>action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jointly</a:t>
            </a:r>
            <a:r>
              <a:rPr lang="de-DE" dirty="0"/>
              <a:t> and </a:t>
            </a:r>
            <a:r>
              <a:rPr lang="de-DE" dirty="0" err="1"/>
              <a:t>implemented</a:t>
            </a:r>
            <a:r>
              <a:rPr lang="de-DE" dirty="0"/>
              <a:t> in </a:t>
            </a:r>
            <a:r>
              <a:rPr lang="de-DE" dirty="0" err="1" smtClean="0"/>
              <a:t>projects</a:t>
            </a:r>
            <a:endParaRPr lang="de-DE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Joi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b="1" dirty="0" err="1" smtClean="0"/>
              <a:t>solutions</a:t>
            </a:r>
            <a:endParaRPr lang="de-DE" b="1" dirty="0" smtClean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chemeClr val="accent5"/>
                </a:solidFill>
              </a:rPr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8600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1341296"/>
            <a:ext cx="9407808" cy="4752000"/>
          </a:xfrm>
          <a:prstGeom prst="rect">
            <a:avLst/>
          </a:prstGeom>
        </p:spPr>
      </p:pic>
      <p:sp>
        <p:nvSpPr>
          <p:cNvPr id="7" name="Abgerundetes Rechteck 6"/>
          <p:cNvSpPr/>
          <p:nvPr/>
        </p:nvSpPr>
        <p:spPr>
          <a:xfrm>
            <a:off x="272480" y="3429000"/>
            <a:ext cx="5472608" cy="1008112"/>
          </a:xfrm>
          <a:prstGeom prst="roundRect">
            <a:avLst/>
          </a:prstGeom>
          <a:noFill/>
          <a:ln w="635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5667688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9424384"/>
              </p:ext>
            </p:extLst>
          </p:nvPr>
        </p:nvGraphicFramePr>
        <p:xfrm>
          <a:off x="560388" y="1268411"/>
          <a:ext cx="8713788" cy="4960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4596">
                  <a:extLst>
                    <a:ext uri="{9D8B030D-6E8A-4147-A177-3AD203B41FA5}">
                      <a16:colId xmlns:a16="http://schemas.microsoft.com/office/drawing/2014/main" val="3288076703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605084680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210334632"/>
                    </a:ext>
                  </a:extLst>
                </a:gridCol>
              </a:tblGrid>
              <a:tr h="571531">
                <a:tc>
                  <a:txBody>
                    <a:bodyPr/>
                    <a:lstStyle/>
                    <a:p>
                      <a:r>
                        <a:rPr lang="de-AT" dirty="0" smtClean="0"/>
                        <a:t>Pilot </a:t>
                      </a:r>
                      <a:r>
                        <a:rPr lang="de-AT" dirty="0" err="1" smtClean="0"/>
                        <a:t>ac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olu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Other</a:t>
                      </a:r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973143"/>
                  </a:ext>
                </a:extLst>
              </a:tr>
              <a:tr h="4109338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sz="180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ept/f</a:t>
                      </a:r>
                      <a:r>
                        <a:rPr lang="en-US" u="none" dirty="0" smtClean="0"/>
                        <a:t>ormat of pilot actions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concept</a:t>
                      </a:r>
                      <a:r>
                        <a:rPr lang="en-US" dirty="0" smtClean="0"/>
                        <a:t> jointly developed by the projec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r>
                        <a:rPr lang="en-US" dirty="0" smtClean="0"/>
                        <a:t>used fo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implementing your</a:t>
                      </a:r>
                      <a:r>
                        <a:rPr lang="en-US" baseline="0" dirty="0" smtClean="0"/>
                        <a:t> pilot activities </a:t>
                      </a: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sz="1800" b="1" u="none" kern="1200" dirty="0" smtClean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AT" sz="1600" dirty="0" smtClean="0"/>
                        <a:t>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6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60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u="sng" dirty="0" smtClean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55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614143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0192364"/>
              </p:ext>
            </p:extLst>
          </p:nvPr>
        </p:nvGraphicFramePr>
        <p:xfrm>
          <a:off x="560388" y="1268411"/>
          <a:ext cx="8713788" cy="4960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4596">
                  <a:extLst>
                    <a:ext uri="{9D8B030D-6E8A-4147-A177-3AD203B41FA5}">
                      <a16:colId xmlns:a16="http://schemas.microsoft.com/office/drawing/2014/main" val="3288076703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605084680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210334632"/>
                    </a:ext>
                  </a:extLst>
                </a:gridCol>
              </a:tblGrid>
              <a:tr h="571531">
                <a:tc>
                  <a:txBody>
                    <a:bodyPr/>
                    <a:lstStyle/>
                    <a:p>
                      <a:r>
                        <a:rPr lang="de-AT" dirty="0" smtClean="0"/>
                        <a:t>Pilot </a:t>
                      </a:r>
                      <a:r>
                        <a:rPr lang="de-AT" dirty="0" err="1" smtClean="0"/>
                        <a:t>ac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olu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Other</a:t>
                      </a:r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973143"/>
                  </a:ext>
                </a:extLst>
              </a:tr>
              <a:tr h="4109338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sz="180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ept/f</a:t>
                      </a:r>
                      <a:r>
                        <a:rPr lang="en-US" u="none" dirty="0" smtClean="0"/>
                        <a:t>ormat of pilot actions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concept</a:t>
                      </a:r>
                      <a:r>
                        <a:rPr lang="en-US" dirty="0" smtClean="0"/>
                        <a:t> jointly developed by the projec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r>
                        <a:rPr lang="en-US" dirty="0" smtClean="0"/>
                        <a:t>used fo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implementing your</a:t>
                      </a:r>
                      <a:r>
                        <a:rPr lang="en-US" baseline="0" dirty="0" smtClean="0"/>
                        <a:t> pilot activities </a:t>
                      </a: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800" b="1" u="none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⚠ 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  <a:r>
                        <a:rPr lang="de-AT" sz="1800" u="sng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endParaRPr lang="de-AT" sz="1800" u="sng" kern="1200" dirty="0" smtClean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AT" sz="1600" dirty="0" smtClean="0"/>
                        <a:t>   </a:t>
                      </a:r>
                      <a:r>
                        <a:rPr lang="de-AT" sz="1600" dirty="0" err="1" smtClean="0"/>
                        <a:t>concept</a:t>
                      </a:r>
                      <a:r>
                        <a:rPr lang="de-AT" sz="1600" dirty="0" smtClean="0"/>
                        <a:t>  </a:t>
                      </a:r>
                      <a:r>
                        <a:rPr lang="de-AT" sz="1600" b="0" dirty="0" smtClean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</a:t>
                      </a:r>
                      <a:endParaRPr lang="de-AT" sz="1600" b="0" dirty="0" smtClean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dirty="0" smtClean="0"/>
                        <a:t>   each single pilot activit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   </a:t>
                      </a:r>
                      <a:r>
                        <a:rPr lang="en-US" sz="1600" dirty="0" smtClean="0"/>
                        <a:t>implemented  </a:t>
                      </a:r>
                      <a:r>
                        <a:rPr lang="de-AT" sz="16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</a:t>
                      </a:r>
                      <a:endParaRPr lang="en-US" sz="160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u="sng" dirty="0" smtClean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55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81644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How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prepare</a:t>
            </a:r>
            <a:r>
              <a:rPr lang="de-DE" sz="2800" dirty="0"/>
              <a:t> a </a:t>
            </a:r>
            <a:r>
              <a:rPr lang="de-DE" sz="2800" dirty="0" err="1"/>
              <a:t>good</a:t>
            </a:r>
            <a:r>
              <a:rPr lang="de-DE" sz="2800" dirty="0"/>
              <a:t> </a:t>
            </a:r>
            <a:r>
              <a:rPr lang="de-DE" sz="2800" dirty="0" err="1"/>
              <a:t>application</a:t>
            </a:r>
            <a:r>
              <a:rPr lang="de-DE" sz="2800" dirty="0"/>
              <a:t> form?</a:t>
            </a:r>
            <a:endParaRPr lang="de-AT" dirty="0"/>
          </a:p>
        </p:txBody>
      </p:sp>
      <p:grpSp>
        <p:nvGrpSpPr>
          <p:cNvPr id="4" name="Group 4"/>
          <p:cNvGrpSpPr/>
          <p:nvPr/>
        </p:nvGrpSpPr>
        <p:grpSpPr>
          <a:xfrm>
            <a:off x="2126190" y="1556790"/>
            <a:ext cx="5347089" cy="2159998"/>
            <a:chOff x="2307765" y="3645024"/>
            <a:chExt cx="5347308" cy="2237142"/>
          </a:xfrm>
        </p:grpSpPr>
        <p:grpSp>
          <p:nvGrpSpPr>
            <p:cNvPr id="5" name="Group 5"/>
            <p:cNvGrpSpPr/>
            <p:nvPr/>
          </p:nvGrpSpPr>
          <p:grpSpPr>
            <a:xfrm>
              <a:off x="2307765" y="3645024"/>
              <a:ext cx="2537122" cy="2237142"/>
              <a:chOff x="2432046" y="514275"/>
              <a:chExt cx="2884085" cy="1729296"/>
            </a:xfrm>
          </p:grpSpPr>
          <p:sp>
            <p:nvSpPr>
              <p:cNvPr id="9" name="Rectangle 9"/>
              <p:cNvSpPr/>
              <p:nvPr/>
            </p:nvSpPr>
            <p:spPr>
              <a:xfrm>
                <a:off x="2492317" y="572105"/>
                <a:ext cx="2660114" cy="1614011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2">
                  <a:shade val="50000"/>
                  <a:hueOff val="7406"/>
                  <a:satOff val="941"/>
                  <a:lumOff val="13863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" name="Rectangle 10"/>
              <p:cNvSpPr/>
              <p:nvPr/>
            </p:nvSpPr>
            <p:spPr>
              <a:xfrm>
                <a:off x="2432046" y="514275"/>
                <a:ext cx="2884085" cy="172929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5730" tIns="125730" rIns="125730" bIns="125730" numCol="1" spcCol="1270" anchor="ctr" anchorCtr="0">
                <a:noAutofit/>
              </a:bodyPr>
              <a:lstStyle/>
              <a:p>
                <a:pPr lvl="0" algn="ctr" defTabSz="1466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400" dirty="0"/>
                  <a:t>Intervention </a:t>
                </a:r>
                <a:r>
                  <a:rPr lang="de-DE" sz="2400" dirty="0" err="1" smtClean="0"/>
                  <a:t>logic</a:t>
                </a:r>
                <a:r>
                  <a:rPr lang="de-DE" sz="2400" dirty="0" smtClean="0"/>
                  <a:t> </a:t>
                </a:r>
                <a:r>
                  <a:rPr lang="de-DE" sz="2400" dirty="0" err="1" smtClean="0"/>
                  <a:t>and</a:t>
                </a:r>
                <a:r>
                  <a:rPr lang="de-DE" sz="2400" dirty="0" smtClean="0"/>
                  <a:t> </a:t>
                </a:r>
                <a:r>
                  <a:rPr lang="de-DE" sz="2400" dirty="0" err="1" smtClean="0"/>
                  <a:t>outputs</a:t>
                </a:r>
                <a:endParaRPr lang="de-DE" sz="2400" dirty="0"/>
              </a:p>
            </p:txBody>
          </p:sp>
        </p:grpSp>
        <p:grpSp>
          <p:nvGrpSpPr>
            <p:cNvPr id="6" name="Group 6"/>
            <p:cNvGrpSpPr/>
            <p:nvPr/>
          </p:nvGrpSpPr>
          <p:grpSpPr>
            <a:xfrm>
              <a:off x="5135073" y="3645025"/>
              <a:ext cx="2520000" cy="2162814"/>
              <a:chOff x="5980148" y="514275"/>
              <a:chExt cx="3136612" cy="1671840"/>
            </a:xfrm>
          </p:grpSpPr>
          <p:sp>
            <p:nvSpPr>
              <p:cNvPr id="7" name="Rectangle 7"/>
              <p:cNvSpPr/>
              <p:nvPr/>
            </p:nvSpPr>
            <p:spPr>
              <a:xfrm>
                <a:off x="6204074" y="572105"/>
                <a:ext cx="2912686" cy="161401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2">
                  <a:shade val="50000"/>
                  <a:hueOff val="14811"/>
                  <a:satOff val="1882"/>
                  <a:lumOff val="2772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defTabSz="1466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2600" dirty="0" smtClean="0"/>
              </a:p>
              <a:p>
                <a:pPr algn="ctr" defTabSz="1466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400" dirty="0" err="1" smtClean="0"/>
                  <a:t>Workplan</a:t>
                </a:r>
                <a:r>
                  <a:rPr lang="de-DE" sz="2400" dirty="0" smtClean="0"/>
                  <a:t> </a:t>
                </a:r>
                <a:r>
                  <a:rPr lang="de-DE" sz="2400" dirty="0" err="1"/>
                  <a:t>and</a:t>
                </a:r>
                <a:r>
                  <a:rPr lang="de-DE" sz="2400" dirty="0"/>
                  <a:t> </a:t>
                </a:r>
                <a:r>
                  <a:rPr lang="de-DE" sz="2400" dirty="0" err="1"/>
                  <a:t>timeline</a:t>
                </a:r>
                <a:r>
                  <a:rPr lang="de-DE" sz="2400" dirty="0"/>
                  <a:t> </a:t>
                </a:r>
                <a:r>
                  <a:rPr lang="de-DE" sz="2400" dirty="0" err="1"/>
                  <a:t>of</a:t>
                </a:r>
                <a:r>
                  <a:rPr lang="de-DE" sz="2400" dirty="0"/>
                  <a:t> </a:t>
                </a:r>
                <a:r>
                  <a:rPr lang="de-DE" sz="2400" dirty="0" err="1"/>
                  <a:t>activities</a:t>
                </a:r>
                <a:endParaRPr lang="it-IT" sz="2400" dirty="0"/>
              </a:p>
            </p:txBody>
          </p:sp>
          <p:sp>
            <p:nvSpPr>
              <p:cNvPr id="8" name="Rectangle 8"/>
              <p:cNvSpPr/>
              <p:nvPr/>
            </p:nvSpPr>
            <p:spPr>
              <a:xfrm>
                <a:off x="5980148" y="514275"/>
                <a:ext cx="2868079" cy="161418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5730" tIns="125730" rIns="125730" bIns="125730" numCol="1" spcCol="1270" anchor="ctr" anchorCtr="0">
                <a:noAutofit/>
              </a:bodyPr>
              <a:lstStyle/>
              <a:p>
                <a:pPr lvl="0" algn="ctr" defTabSz="1466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2600" kern="1200" dirty="0"/>
              </a:p>
            </p:txBody>
          </p:sp>
        </p:grpSp>
      </p:grpSp>
      <p:sp>
        <p:nvSpPr>
          <p:cNvPr id="11" name="Rectangle 7"/>
          <p:cNvSpPr/>
          <p:nvPr/>
        </p:nvSpPr>
        <p:spPr>
          <a:xfrm>
            <a:off x="3693120" y="4005288"/>
            <a:ext cx="2340000" cy="2016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shade val="50000"/>
              <a:hueOff val="14811"/>
              <a:satOff val="1882"/>
              <a:lumOff val="2772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2600" dirty="0" smtClean="0"/>
          </a:p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400" dirty="0" smtClean="0"/>
          </a:p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2400" dirty="0" smtClean="0"/>
              <a:t>Communication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424745452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8637430"/>
              </p:ext>
            </p:extLst>
          </p:nvPr>
        </p:nvGraphicFramePr>
        <p:xfrm>
          <a:off x="560388" y="1268411"/>
          <a:ext cx="8713788" cy="4960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4596">
                  <a:extLst>
                    <a:ext uri="{9D8B030D-6E8A-4147-A177-3AD203B41FA5}">
                      <a16:colId xmlns:a16="http://schemas.microsoft.com/office/drawing/2014/main" val="3288076703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605084680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210334632"/>
                    </a:ext>
                  </a:extLst>
                </a:gridCol>
              </a:tblGrid>
              <a:tr h="571531">
                <a:tc>
                  <a:txBody>
                    <a:bodyPr/>
                    <a:lstStyle/>
                    <a:p>
                      <a:r>
                        <a:rPr lang="de-AT" dirty="0" smtClean="0"/>
                        <a:t>Pilot </a:t>
                      </a:r>
                      <a:r>
                        <a:rPr lang="de-AT" dirty="0" err="1" smtClean="0"/>
                        <a:t>ac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olu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Other</a:t>
                      </a:r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973143"/>
                  </a:ext>
                </a:extLst>
              </a:tr>
              <a:tr h="4109338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sz="180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ept/f</a:t>
                      </a:r>
                      <a:r>
                        <a:rPr lang="en-US" u="none" dirty="0" smtClean="0"/>
                        <a:t>ormat of pilot actions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concept</a:t>
                      </a:r>
                      <a:r>
                        <a:rPr lang="en-US" dirty="0" smtClean="0"/>
                        <a:t> jointly developed by the projec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r>
                        <a:rPr lang="en-US" dirty="0" smtClean="0"/>
                        <a:t>used fo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implementing your</a:t>
                      </a:r>
                      <a:r>
                        <a:rPr lang="en-US" baseline="0" dirty="0" smtClean="0"/>
                        <a:t> pilot activities </a:t>
                      </a: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800" b="1" u="none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⚠ 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  <a:r>
                        <a:rPr lang="de-AT" sz="1800" u="sng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endParaRPr lang="de-AT" sz="1800" u="sng" kern="1200" dirty="0" smtClean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AT" sz="1600" dirty="0" smtClean="0"/>
                        <a:t>   </a:t>
                      </a:r>
                      <a:r>
                        <a:rPr lang="de-AT" sz="1600" dirty="0" err="1" smtClean="0"/>
                        <a:t>concept</a:t>
                      </a:r>
                      <a:r>
                        <a:rPr lang="de-AT" sz="1600" dirty="0" smtClean="0"/>
                        <a:t>  </a:t>
                      </a:r>
                      <a:r>
                        <a:rPr lang="de-AT" sz="1600" b="0" dirty="0" smtClean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</a:t>
                      </a:r>
                      <a:endParaRPr lang="de-AT" sz="1600" b="0" dirty="0" smtClean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dirty="0" smtClean="0"/>
                        <a:t>   each single pilot activit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   </a:t>
                      </a:r>
                      <a:r>
                        <a:rPr lang="en-US" sz="1600" dirty="0" smtClean="0"/>
                        <a:t>implemented  </a:t>
                      </a:r>
                      <a:r>
                        <a:rPr lang="de-AT" sz="16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</a:t>
                      </a:r>
                      <a:endParaRPr lang="en-US" sz="160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dirty="0" smtClean="0"/>
                        <a:t>implementation-oriented character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 smtClean="0"/>
                        <a:t>practical solutions /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 smtClean="0"/>
                        <a:t>products</a:t>
                      </a:r>
                      <a:r>
                        <a:rPr lang="en-US" sz="1800" u="none" dirty="0" smtClean="0"/>
                        <a:t> </a:t>
                      </a:r>
                      <a:r>
                        <a:rPr lang="en-US" sz="1800" dirty="0" smtClean="0"/>
                        <a:t>jointly developed by the project</a:t>
                      </a:r>
                      <a:endParaRPr lang="de-AT" sz="1800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e.g. tool-boxes, models, instruments, action plans, concepts/methods, roadmaps, processes…</a:t>
                      </a:r>
                    </a:p>
                    <a:p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55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3445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598620"/>
              </p:ext>
            </p:extLst>
          </p:nvPr>
        </p:nvGraphicFramePr>
        <p:xfrm>
          <a:off x="560388" y="1268411"/>
          <a:ext cx="8713788" cy="4960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4596">
                  <a:extLst>
                    <a:ext uri="{9D8B030D-6E8A-4147-A177-3AD203B41FA5}">
                      <a16:colId xmlns:a16="http://schemas.microsoft.com/office/drawing/2014/main" val="3288076703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605084680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210334632"/>
                    </a:ext>
                  </a:extLst>
                </a:gridCol>
              </a:tblGrid>
              <a:tr h="571531">
                <a:tc>
                  <a:txBody>
                    <a:bodyPr/>
                    <a:lstStyle/>
                    <a:p>
                      <a:r>
                        <a:rPr lang="de-AT" dirty="0" smtClean="0"/>
                        <a:t>Pilot </a:t>
                      </a:r>
                      <a:r>
                        <a:rPr lang="de-AT" dirty="0" err="1" smtClean="0"/>
                        <a:t>ac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olu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Other</a:t>
                      </a:r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973143"/>
                  </a:ext>
                </a:extLst>
              </a:tr>
              <a:tr h="4109338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sz="180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ept/f</a:t>
                      </a:r>
                      <a:r>
                        <a:rPr lang="en-US" u="none" dirty="0" smtClean="0"/>
                        <a:t>ormat of pilot actions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concept</a:t>
                      </a:r>
                      <a:r>
                        <a:rPr lang="en-US" dirty="0" smtClean="0"/>
                        <a:t> jointly developed by the projec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r>
                        <a:rPr lang="en-US" dirty="0" smtClean="0"/>
                        <a:t>used fo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implementing your</a:t>
                      </a:r>
                      <a:r>
                        <a:rPr lang="en-US" baseline="0" dirty="0" smtClean="0"/>
                        <a:t> pilot activities </a:t>
                      </a: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800" b="1" u="none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⚠ 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  <a:r>
                        <a:rPr lang="de-AT" sz="1800" u="sng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endParaRPr lang="de-AT" sz="1800" u="sng" kern="1200" dirty="0" smtClean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AT" sz="1600" dirty="0" smtClean="0"/>
                        <a:t>   </a:t>
                      </a:r>
                      <a:r>
                        <a:rPr lang="de-AT" sz="1600" dirty="0" err="1" smtClean="0"/>
                        <a:t>concept</a:t>
                      </a:r>
                      <a:r>
                        <a:rPr lang="de-AT" sz="1600" dirty="0" smtClean="0"/>
                        <a:t>  </a:t>
                      </a:r>
                      <a:r>
                        <a:rPr lang="de-AT" sz="1600" b="0" dirty="0" smtClean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</a:t>
                      </a:r>
                      <a:endParaRPr lang="de-AT" sz="1600" b="0" dirty="0" smtClean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dirty="0" smtClean="0"/>
                        <a:t>   each single pilot activit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   </a:t>
                      </a:r>
                      <a:r>
                        <a:rPr lang="en-US" sz="1600" dirty="0" smtClean="0"/>
                        <a:t>implemented  </a:t>
                      </a:r>
                      <a:r>
                        <a:rPr lang="de-AT" sz="16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</a:t>
                      </a:r>
                      <a:endParaRPr lang="en-US" sz="160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dirty="0" smtClean="0"/>
                        <a:t>implementation-oriented character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 smtClean="0"/>
                        <a:t>practical solutions /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 smtClean="0"/>
                        <a:t>products</a:t>
                      </a:r>
                      <a:r>
                        <a:rPr lang="en-US" sz="1800" u="none" dirty="0" smtClean="0"/>
                        <a:t> </a:t>
                      </a:r>
                      <a:r>
                        <a:rPr lang="en-US" sz="1800" dirty="0" smtClean="0"/>
                        <a:t>jointly developed by the project</a:t>
                      </a:r>
                      <a:endParaRPr lang="de-AT" sz="1800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e.g. tool-boxes, models, instruments, action plans, concepts/methods, roadmaps, processes…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b="1" dirty="0" smtClean="0">
                          <a:solidFill>
                            <a:schemeClr val="accent5"/>
                          </a:solidFill>
                        </a:rPr>
                        <a:t>⚠</a:t>
                      </a:r>
                      <a:r>
                        <a:rPr lang="de-AT" dirty="0" smtClean="0"/>
                        <a:t>  </a:t>
                      </a:r>
                      <a:r>
                        <a:rPr lang="de-AT" u="sng" dirty="0" err="1" smtClean="0">
                          <a:solidFill>
                            <a:schemeClr val="accent5"/>
                          </a:solidFill>
                        </a:rPr>
                        <a:t>no</a:t>
                      </a:r>
                      <a:r>
                        <a:rPr lang="de-AT" u="sng" dirty="0" smtClean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de-AT" u="sng" dirty="0" err="1" smtClean="0">
                          <a:solidFill>
                            <a:schemeClr val="accent5"/>
                          </a:solidFill>
                        </a:rPr>
                        <a:t>deliverable</a:t>
                      </a:r>
                      <a:r>
                        <a:rPr lang="de-AT" u="sng" dirty="0" smtClean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de-AT" u="sng" dirty="0" err="1" smtClean="0">
                          <a:solidFill>
                            <a:schemeClr val="accent5"/>
                          </a:solidFill>
                        </a:rPr>
                        <a:t>here</a:t>
                      </a:r>
                      <a:endParaRPr lang="de-AT" u="sng" dirty="0" smtClean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55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1576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3164158"/>
              </p:ext>
            </p:extLst>
          </p:nvPr>
        </p:nvGraphicFramePr>
        <p:xfrm>
          <a:off x="560388" y="1268411"/>
          <a:ext cx="8713788" cy="4960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4596">
                  <a:extLst>
                    <a:ext uri="{9D8B030D-6E8A-4147-A177-3AD203B41FA5}">
                      <a16:colId xmlns:a16="http://schemas.microsoft.com/office/drawing/2014/main" val="3288076703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605084680"/>
                    </a:ext>
                  </a:extLst>
                </a:gridCol>
                <a:gridCol w="2904596">
                  <a:extLst>
                    <a:ext uri="{9D8B030D-6E8A-4147-A177-3AD203B41FA5}">
                      <a16:colId xmlns:a16="http://schemas.microsoft.com/office/drawing/2014/main" val="3210334632"/>
                    </a:ext>
                  </a:extLst>
                </a:gridCol>
              </a:tblGrid>
              <a:tr h="571531">
                <a:tc>
                  <a:txBody>
                    <a:bodyPr/>
                    <a:lstStyle/>
                    <a:p>
                      <a:r>
                        <a:rPr lang="de-AT" dirty="0" smtClean="0"/>
                        <a:t>Pilot </a:t>
                      </a:r>
                      <a:r>
                        <a:rPr lang="de-AT" dirty="0" err="1" smtClean="0"/>
                        <a:t>ac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olution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Other</a:t>
                      </a:r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973143"/>
                  </a:ext>
                </a:extLst>
              </a:tr>
              <a:tr h="4109338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sz="180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ept/f</a:t>
                      </a:r>
                      <a:r>
                        <a:rPr lang="en-US" u="none" dirty="0" smtClean="0"/>
                        <a:t>ormat of pilot actions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concept</a:t>
                      </a:r>
                      <a:r>
                        <a:rPr lang="en-US" dirty="0" smtClean="0"/>
                        <a:t> jointly developed by the projec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r>
                        <a:rPr lang="en-US" dirty="0" smtClean="0"/>
                        <a:t>used fo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implementing your</a:t>
                      </a:r>
                      <a:r>
                        <a:rPr lang="en-US" baseline="0" dirty="0" smtClean="0"/>
                        <a:t> pilot activities</a:t>
                      </a:r>
                    </a:p>
                    <a:p>
                      <a:endParaRPr lang="en-US" baseline="0" dirty="0" smtClean="0"/>
                    </a:p>
                    <a:p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800" b="1" u="none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⚠ 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  <a:r>
                        <a:rPr lang="de-AT" sz="1800" u="sng" kern="12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AT" sz="1800" u="sng" kern="1200" dirty="0" err="1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endParaRPr lang="de-AT" sz="1800" u="sng" kern="1200" dirty="0" smtClean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AT" sz="1600" dirty="0" smtClean="0"/>
                        <a:t>   </a:t>
                      </a:r>
                      <a:r>
                        <a:rPr lang="de-AT" sz="1600" dirty="0" err="1" smtClean="0"/>
                        <a:t>concept</a:t>
                      </a:r>
                      <a:r>
                        <a:rPr lang="de-AT" sz="1600" dirty="0" smtClean="0"/>
                        <a:t>  </a:t>
                      </a:r>
                      <a:r>
                        <a:rPr lang="de-AT" sz="1600" b="0" dirty="0" smtClean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</a:t>
                      </a:r>
                      <a:endParaRPr lang="de-AT" sz="1600" b="0" dirty="0" smtClean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dirty="0" smtClean="0"/>
                        <a:t>   each single pilot activit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   </a:t>
                      </a:r>
                      <a:r>
                        <a:rPr lang="en-US" sz="1600" dirty="0" smtClean="0"/>
                        <a:t>implemented  </a:t>
                      </a:r>
                      <a:r>
                        <a:rPr lang="de-AT" sz="16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</a:t>
                      </a:r>
                      <a:endParaRPr lang="en-US" sz="160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dirty="0" smtClean="0"/>
                        <a:t>implementation-oriented character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 smtClean="0"/>
                        <a:t>practical solutions /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 smtClean="0"/>
                        <a:t>products</a:t>
                      </a:r>
                      <a:r>
                        <a:rPr lang="en-US" sz="1800" u="none" dirty="0" smtClean="0"/>
                        <a:t> </a:t>
                      </a:r>
                      <a:r>
                        <a:rPr lang="en-US" sz="1800" dirty="0" smtClean="0"/>
                        <a:t>jointly developed by the project</a:t>
                      </a:r>
                      <a:endParaRPr lang="de-AT" sz="1800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e.g. tool-boxes, models, instruments, action plans, concepts/methods, roadmaps, processes…</a:t>
                      </a:r>
                    </a:p>
                    <a:p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b="1" dirty="0" smtClean="0">
                          <a:solidFill>
                            <a:schemeClr val="accent5"/>
                          </a:solidFill>
                        </a:rPr>
                        <a:t>⚠</a:t>
                      </a:r>
                      <a:r>
                        <a:rPr lang="de-AT" dirty="0" smtClean="0"/>
                        <a:t>  </a:t>
                      </a:r>
                      <a:r>
                        <a:rPr lang="de-AT" u="sng" dirty="0" err="1" smtClean="0">
                          <a:solidFill>
                            <a:schemeClr val="accent5"/>
                          </a:solidFill>
                        </a:rPr>
                        <a:t>no</a:t>
                      </a:r>
                      <a:r>
                        <a:rPr lang="de-AT" u="sng" dirty="0" smtClean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de-AT" u="sng" dirty="0" err="1" smtClean="0">
                          <a:solidFill>
                            <a:schemeClr val="accent5"/>
                          </a:solidFill>
                        </a:rPr>
                        <a:t>deliverable</a:t>
                      </a:r>
                      <a:r>
                        <a:rPr lang="de-AT" u="sng" dirty="0" smtClean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de-AT" u="sng" dirty="0" err="1" smtClean="0">
                          <a:solidFill>
                            <a:schemeClr val="accent5"/>
                          </a:solidFill>
                        </a:rPr>
                        <a:t>here</a:t>
                      </a:r>
                      <a:endParaRPr lang="de-AT" u="sng" dirty="0" smtClean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de-AT" dirty="0" err="1" smtClean="0"/>
                        <a:t>strategic</a:t>
                      </a:r>
                      <a:r>
                        <a:rPr lang="de-AT" dirty="0" smtClean="0"/>
                        <a:t> </a:t>
                      </a:r>
                      <a:r>
                        <a:rPr lang="de-AT" dirty="0" err="1" smtClean="0"/>
                        <a:t>character</a:t>
                      </a:r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r>
                        <a:rPr lang="en-US" dirty="0" smtClean="0"/>
                        <a:t>no “pilot action” and</a:t>
                      </a:r>
                    </a:p>
                    <a:p>
                      <a:r>
                        <a:rPr lang="en-US" dirty="0" smtClean="0"/>
                        <a:t>no “solution”</a:t>
                      </a:r>
                      <a:endParaRPr lang="de-AT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e.g. strategies, recommendations, </a:t>
                      </a:r>
                      <a:endParaRPr lang="de-AT" dirty="0" smtClean="0"/>
                    </a:p>
                    <a:p>
                      <a:r>
                        <a:rPr lang="en-US" dirty="0" smtClean="0"/>
                        <a:t>policy briefs</a:t>
                      </a:r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  <a:p>
                      <a:endParaRPr lang="de-AT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55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526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and </a:t>
            </a:r>
            <a:r>
              <a:rPr lang="de-AT" sz="2800" dirty="0" err="1" smtClean="0"/>
              <a:t>resul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RESUL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 smtClean="0"/>
              <a:t>Two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/s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Solutions</a:t>
            </a:r>
            <a:r>
              <a:rPr lang="de-DE" dirty="0" smtClean="0"/>
              <a:t> </a:t>
            </a:r>
            <a:r>
              <a:rPr lang="de-DE" dirty="0" err="1"/>
              <a:t>taken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 smtClean="0"/>
              <a:t>up-scaled</a:t>
            </a:r>
            <a:r>
              <a:rPr lang="de-DE" dirty="0" smtClean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organisations</a:t>
            </a:r>
            <a:endParaRPr lang="de-DE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27798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and </a:t>
            </a:r>
            <a:r>
              <a:rPr lang="de-AT" sz="2800" dirty="0" err="1" smtClean="0"/>
              <a:t>resul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RESUL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 smtClean="0"/>
              <a:t>Two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/s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chemeClr val="accent5"/>
                </a:solidFill>
              </a:rPr>
              <a:t>Solutions</a:t>
            </a:r>
            <a:r>
              <a:rPr lang="de-DE" dirty="0" smtClean="0"/>
              <a:t> </a:t>
            </a:r>
            <a:r>
              <a:rPr lang="de-DE" dirty="0" err="1"/>
              <a:t>taken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 smtClean="0"/>
              <a:t>up-scaled</a:t>
            </a:r>
            <a:r>
              <a:rPr lang="de-DE" dirty="0" smtClean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organisations</a:t>
            </a:r>
            <a:endParaRPr lang="de-DE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830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and </a:t>
            </a:r>
            <a:r>
              <a:rPr lang="de-AT" sz="2800" dirty="0" err="1" smtClean="0"/>
              <a:t>resul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RESUL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 smtClean="0"/>
              <a:t>Two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/s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Solutions</a:t>
            </a:r>
            <a:r>
              <a:rPr lang="de-DE" dirty="0" smtClean="0"/>
              <a:t> </a:t>
            </a:r>
            <a:r>
              <a:rPr lang="de-DE" dirty="0" err="1"/>
              <a:t>taken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 smtClean="0"/>
              <a:t>up-scaled</a:t>
            </a:r>
            <a:r>
              <a:rPr lang="de-DE" dirty="0" smtClean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organisations</a:t>
            </a:r>
            <a:endParaRPr lang="de-DE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chemeClr val="accent5"/>
                </a:solidFill>
              </a:rPr>
              <a:t>O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2755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and </a:t>
            </a:r>
            <a:r>
              <a:rPr lang="de-AT" sz="2800" dirty="0" err="1" smtClean="0"/>
              <a:t>results</a:t>
            </a:r>
            <a:endParaRPr lang="de-AT" dirty="0"/>
          </a:p>
        </p:txBody>
      </p:sp>
      <p:pic>
        <p:nvPicPr>
          <p:cNvPr id="14" name="Inhaltsplatzhalter 1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1765039"/>
            <a:ext cx="9406800" cy="3752193"/>
          </a:xfrm>
        </p:spPr>
      </p:pic>
      <p:sp>
        <p:nvSpPr>
          <p:cNvPr id="15" name="Abgerundetes Rechteck 14"/>
          <p:cNvSpPr/>
          <p:nvPr/>
        </p:nvSpPr>
        <p:spPr>
          <a:xfrm>
            <a:off x="344488" y="2996952"/>
            <a:ext cx="5976664" cy="655142"/>
          </a:xfrm>
          <a:prstGeom prst="roundRect">
            <a:avLst/>
          </a:prstGeom>
          <a:noFill/>
          <a:ln w="635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15497641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and </a:t>
            </a:r>
            <a:r>
              <a:rPr lang="de-AT" sz="2800" dirty="0" err="1" smtClean="0"/>
              <a:t>resul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RESUL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 smtClean="0"/>
              <a:t>Two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/s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Solutions</a:t>
            </a:r>
            <a:r>
              <a:rPr lang="de-DE" dirty="0" smtClean="0"/>
              <a:t> </a:t>
            </a:r>
            <a:r>
              <a:rPr lang="de-DE" dirty="0" err="1"/>
              <a:t>taken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upsca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organisations</a:t>
            </a:r>
            <a:endParaRPr lang="de-DE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de-DE" b="1" dirty="0"/>
          </a:p>
          <a:p>
            <a:pPr marL="400050" lvl="1" indent="0">
              <a:buClr>
                <a:schemeClr val="tx1">
                  <a:lumMod val="75000"/>
                </a:schemeClr>
              </a:buClr>
              <a:buNone/>
            </a:pPr>
            <a:r>
              <a:rPr lang="en-US" dirty="0" smtClean="0">
                <a:latin typeface="Arial" panose="020B0604020202020204" pitchFamily="34" charset="0"/>
              </a:rPr>
              <a:t>→  </a:t>
            </a:r>
            <a:r>
              <a:rPr lang="en-US" b="1" dirty="0">
                <a:solidFill>
                  <a:schemeClr val="accent5"/>
                </a:solidFill>
              </a:rPr>
              <a:t>uptake of an output by </a:t>
            </a:r>
            <a:r>
              <a:rPr lang="en-US" b="1" dirty="0" err="1" smtClean="0">
                <a:solidFill>
                  <a:schemeClr val="accent5"/>
                </a:solidFill>
              </a:rPr>
              <a:t>organisations</a:t>
            </a:r>
            <a:r>
              <a:rPr lang="en-US" dirty="0" smtClean="0">
                <a:latin typeface="Arial" panose="020B0604020202020204" pitchFamily="34" charset="0"/>
              </a:rPr>
              <a:t> </a:t>
            </a:r>
            <a:r>
              <a:rPr lang="en-US" dirty="0" smtClean="0"/>
              <a:t>ultimately </a:t>
            </a:r>
            <a:r>
              <a:rPr lang="en-US" dirty="0"/>
              <a:t>leading to a </a:t>
            </a:r>
            <a:r>
              <a:rPr lang="en-US" dirty="0" smtClean="0"/>
              <a:t>change</a:t>
            </a:r>
          </a:p>
          <a:p>
            <a:pPr marL="0" indent="0">
              <a:buClr>
                <a:schemeClr val="tx1">
                  <a:lumMod val="75000"/>
                </a:schemeClr>
              </a:buClr>
              <a:buNone/>
            </a:pPr>
            <a:r>
              <a:rPr lang="en-US" sz="1800" dirty="0"/>
              <a:t> </a:t>
            </a:r>
            <a:r>
              <a:rPr lang="en-US" sz="1800" dirty="0" smtClean="0"/>
              <a:t>          on </a:t>
            </a:r>
            <a:r>
              <a:rPr lang="en-US" sz="1800" dirty="0"/>
              <a:t>the ground</a:t>
            </a:r>
          </a:p>
          <a:p>
            <a:pPr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de-DE" b="1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470314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and </a:t>
            </a:r>
            <a:r>
              <a:rPr lang="de-AT" sz="2800" dirty="0" err="1" smtClean="0"/>
              <a:t>resul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RESULTS</a:t>
            </a:r>
            <a:endParaRPr lang="de-DE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 err="1" smtClean="0"/>
              <a:t>Two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 </a:t>
            </a:r>
            <a:r>
              <a:rPr lang="de-DE" sz="1800" dirty="0" err="1"/>
              <a:t>indicator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 smtClean="0"/>
              <a:t>result</a:t>
            </a:r>
            <a:r>
              <a:rPr lang="de-DE" sz="1800" dirty="0" smtClean="0"/>
              <a:t>/s:</a:t>
            </a:r>
          </a:p>
          <a:p>
            <a:pPr marL="0" indent="0">
              <a:buNone/>
            </a:pPr>
            <a:endParaRPr lang="de-DE" sz="1000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Solutions</a:t>
            </a:r>
            <a:r>
              <a:rPr lang="de-DE" dirty="0" smtClean="0"/>
              <a:t> </a:t>
            </a:r>
            <a:r>
              <a:rPr lang="de-DE" dirty="0" err="1"/>
              <a:t>taken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upsca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organisations</a:t>
            </a:r>
            <a:endParaRPr lang="de-DE" dirty="0"/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de-DE" b="1" dirty="0" smtClean="0"/>
              <a:t>Other</a:t>
            </a:r>
          </a:p>
          <a:p>
            <a:pPr lvl="1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de-DE" b="1" dirty="0"/>
          </a:p>
          <a:p>
            <a:pPr marL="400050" lvl="1" indent="0">
              <a:buClr>
                <a:schemeClr val="tx1">
                  <a:lumMod val="75000"/>
                </a:schemeClr>
              </a:buClr>
              <a:buNone/>
            </a:pPr>
            <a:r>
              <a:rPr lang="en-US" dirty="0" smtClean="0">
                <a:latin typeface="Arial" panose="020B0604020202020204" pitchFamily="34" charset="0"/>
              </a:rPr>
              <a:t>→  </a:t>
            </a:r>
            <a:r>
              <a:rPr lang="en-US" b="1" dirty="0">
                <a:solidFill>
                  <a:schemeClr val="accent5"/>
                </a:solidFill>
              </a:rPr>
              <a:t>uptake of an output by </a:t>
            </a:r>
            <a:r>
              <a:rPr lang="en-US" b="1" dirty="0" err="1" smtClean="0">
                <a:solidFill>
                  <a:schemeClr val="accent5"/>
                </a:solidFill>
              </a:rPr>
              <a:t>organisations</a:t>
            </a:r>
            <a:r>
              <a:rPr lang="en-US" dirty="0" smtClean="0">
                <a:solidFill>
                  <a:schemeClr val="accent5"/>
                </a:solidFill>
              </a:rPr>
              <a:t> </a:t>
            </a:r>
            <a:r>
              <a:rPr lang="en-US" dirty="0" smtClean="0"/>
              <a:t>ultimately </a:t>
            </a:r>
            <a:r>
              <a:rPr lang="en-US" dirty="0"/>
              <a:t>leading to a </a:t>
            </a:r>
            <a:r>
              <a:rPr lang="en-US" dirty="0" smtClean="0"/>
              <a:t>change</a:t>
            </a:r>
          </a:p>
          <a:p>
            <a:pPr marL="0" indent="0">
              <a:buClr>
                <a:schemeClr val="tx1">
                  <a:lumMod val="75000"/>
                </a:schemeClr>
              </a:buClr>
              <a:buNone/>
            </a:pPr>
            <a:r>
              <a:rPr lang="en-US" sz="1800" dirty="0"/>
              <a:t> </a:t>
            </a:r>
            <a:r>
              <a:rPr lang="en-US" sz="1800" dirty="0" smtClean="0"/>
              <a:t>          on </a:t>
            </a:r>
            <a:r>
              <a:rPr lang="en-US" sz="1800" dirty="0"/>
              <a:t>the ground</a:t>
            </a:r>
          </a:p>
          <a:p>
            <a:pPr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de-DE" b="1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740702" y="4856439"/>
            <a:ext cx="8352928" cy="1231106"/>
          </a:xfrm>
          <a:prstGeom prst="rect">
            <a:avLst/>
          </a:prstGeom>
          <a:solidFill>
            <a:srgbClr val="BCCEBE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AT" dirty="0" smtClean="0">
                <a:solidFill>
                  <a:schemeClr val="accent5"/>
                </a:solidFill>
              </a:rPr>
              <a:t>⚠</a:t>
            </a:r>
            <a:r>
              <a:rPr lang="de-AT" dirty="0">
                <a:solidFill>
                  <a:schemeClr val="accent5"/>
                </a:solidFill>
              </a:rPr>
              <a:t>  </a:t>
            </a:r>
            <a:r>
              <a:rPr lang="de-AT" u="sng" dirty="0" err="1">
                <a:solidFill>
                  <a:schemeClr val="accent5"/>
                </a:solidFill>
              </a:rPr>
              <a:t>target</a:t>
            </a:r>
            <a:r>
              <a:rPr lang="de-AT" u="sng" dirty="0">
                <a:solidFill>
                  <a:schemeClr val="accent5"/>
                </a:solidFill>
              </a:rPr>
              <a:t> </a:t>
            </a:r>
            <a:r>
              <a:rPr lang="de-AT" u="sng" dirty="0" err="1">
                <a:solidFill>
                  <a:schemeClr val="accent5"/>
                </a:solidFill>
              </a:rPr>
              <a:t>value</a:t>
            </a:r>
            <a:endParaRPr lang="de-AT" u="sng" dirty="0">
              <a:solidFill>
                <a:schemeClr val="accent5"/>
              </a:solidFill>
            </a:endParaRPr>
          </a:p>
          <a:p>
            <a:endParaRPr lang="de-AT" sz="1200" dirty="0"/>
          </a:p>
          <a:p>
            <a:r>
              <a:rPr lang="de-AT" sz="1600" dirty="0"/>
              <a:t>   </a:t>
            </a:r>
            <a:r>
              <a:rPr lang="de-AT" sz="1600" u="sng" dirty="0" err="1"/>
              <a:t>output</a:t>
            </a:r>
            <a:r>
              <a:rPr lang="de-AT" sz="1600" dirty="0"/>
              <a:t> </a:t>
            </a:r>
            <a:r>
              <a:rPr lang="de-AT" sz="1600" dirty="0" err="1"/>
              <a:t>uptaken</a:t>
            </a:r>
            <a:r>
              <a:rPr lang="de-AT" sz="1600" dirty="0"/>
              <a:t> </a:t>
            </a:r>
            <a:r>
              <a:rPr lang="de-AT" sz="1600" dirty="0" err="1"/>
              <a:t>by</a:t>
            </a:r>
            <a:r>
              <a:rPr lang="de-AT" sz="1600" dirty="0"/>
              <a:t> </a:t>
            </a:r>
            <a:r>
              <a:rPr lang="de-AT" sz="1600" dirty="0" err="1"/>
              <a:t>organisations</a:t>
            </a:r>
            <a:r>
              <a:rPr lang="de-AT" sz="1600" dirty="0"/>
              <a:t>  </a:t>
            </a:r>
            <a:r>
              <a:rPr lang="de-AT" sz="1600" dirty="0">
                <a:solidFill>
                  <a:srgbClr val="00B050"/>
                </a:solidFill>
                <a:sym typeface="Wingdings" panose="05000000000000000000" pitchFamily="2" charset="2"/>
              </a:rPr>
              <a:t></a:t>
            </a:r>
            <a:endParaRPr lang="de-AT" sz="1600" dirty="0">
              <a:solidFill>
                <a:srgbClr val="00B050"/>
              </a:solidFill>
            </a:endParaRPr>
          </a:p>
          <a:p>
            <a:r>
              <a:rPr lang="de-AT" sz="1600" dirty="0"/>
              <a:t>   </a:t>
            </a:r>
            <a:r>
              <a:rPr lang="de-AT" sz="1600" u="sng" dirty="0" err="1"/>
              <a:t>number</a:t>
            </a:r>
            <a:r>
              <a:rPr lang="de-AT" sz="1600" u="sng" dirty="0"/>
              <a:t> </a:t>
            </a:r>
            <a:r>
              <a:rPr lang="de-AT" sz="1600" u="sng" dirty="0" err="1"/>
              <a:t>of</a:t>
            </a:r>
            <a:r>
              <a:rPr lang="de-AT" sz="1600" u="sng" dirty="0"/>
              <a:t> </a:t>
            </a:r>
            <a:r>
              <a:rPr lang="de-AT" sz="1600" u="sng" dirty="0" err="1"/>
              <a:t>organisations</a:t>
            </a:r>
            <a:r>
              <a:rPr lang="de-AT" sz="1600" dirty="0"/>
              <a:t> </a:t>
            </a:r>
            <a:r>
              <a:rPr lang="de-AT" sz="1600" dirty="0" err="1"/>
              <a:t>taking</a:t>
            </a:r>
            <a:r>
              <a:rPr lang="de-AT" sz="1600" dirty="0"/>
              <a:t> </a:t>
            </a:r>
            <a:r>
              <a:rPr lang="de-AT" sz="1600" dirty="0" err="1"/>
              <a:t>up</a:t>
            </a:r>
            <a:r>
              <a:rPr lang="de-AT" sz="1600" dirty="0"/>
              <a:t> </a:t>
            </a:r>
            <a:r>
              <a:rPr lang="de-AT" sz="1600" dirty="0" err="1"/>
              <a:t>the</a:t>
            </a:r>
            <a:r>
              <a:rPr lang="de-AT" sz="1600" dirty="0"/>
              <a:t> </a:t>
            </a:r>
            <a:r>
              <a:rPr lang="de-AT" sz="1600" dirty="0" err="1"/>
              <a:t>output</a:t>
            </a:r>
            <a:r>
              <a:rPr lang="de-AT" sz="1600" dirty="0"/>
              <a:t>  </a:t>
            </a:r>
            <a:r>
              <a:rPr lang="de-AT" sz="1600" dirty="0">
                <a:solidFill>
                  <a:srgbClr val="FF0000"/>
                </a:solidFill>
                <a:sym typeface="Wingdings" panose="05000000000000000000" pitchFamily="2" charset="2"/>
              </a:rPr>
              <a:t> </a:t>
            </a:r>
            <a:r>
              <a:rPr lang="de-AT" sz="1600" dirty="0" smtClean="0">
                <a:solidFill>
                  <a:srgbClr val="FF0000"/>
                </a:solidFill>
                <a:sym typeface="Wingdings" panose="05000000000000000000" pitchFamily="2" charset="2"/>
              </a:rPr>
              <a:t>  </a:t>
            </a:r>
            <a:r>
              <a:rPr lang="de-AT" sz="1200" dirty="0" smtClean="0">
                <a:sym typeface="Wingdings" panose="05000000000000000000" pitchFamily="2" charset="2"/>
              </a:rPr>
              <a:t>(but </a:t>
            </a:r>
            <a:r>
              <a:rPr lang="de-AT" sz="1200" dirty="0" err="1" smtClean="0">
                <a:sym typeface="Wingdings" panose="05000000000000000000" pitchFamily="2" charset="2"/>
              </a:rPr>
              <a:t>it</a:t>
            </a:r>
            <a:r>
              <a:rPr lang="de-AT" sz="1200" dirty="0" smtClean="0">
                <a:sym typeface="Wingdings" panose="05000000000000000000" pitchFamily="2" charset="2"/>
              </a:rPr>
              <a:t> </a:t>
            </a:r>
            <a:r>
              <a:rPr lang="de-AT" sz="1200" dirty="0" err="1" smtClean="0">
                <a:sym typeface="Wingdings" panose="05000000000000000000" pitchFamily="2" charset="2"/>
              </a:rPr>
              <a:t>can</a:t>
            </a:r>
            <a:r>
              <a:rPr lang="de-AT" sz="1200" dirty="0" smtClean="0">
                <a:sym typeface="Wingdings" panose="05000000000000000000" pitchFamily="2" charset="2"/>
              </a:rPr>
              <a:t> </a:t>
            </a:r>
            <a:r>
              <a:rPr lang="de-AT" sz="1200" dirty="0" err="1">
                <a:sym typeface="Wingdings" panose="05000000000000000000" pitchFamily="2" charset="2"/>
              </a:rPr>
              <a:t>be</a:t>
            </a:r>
            <a:r>
              <a:rPr lang="de-AT" sz="1200" dirty="0">
                <a:sym typeface="Wingdings" panose="05000000000000000000" pitchFamily="2" charset="2"/>
              </a:rPr>
              <a:t> </a:t>
            </a:r>
            <a:r>
              <a:rPr lang="de-AT" sz="1200" dirty="0" err="1">
                <a:sym typeface="Wingdings" panose="05000000000000000000" pitchFamily="2" charset="2"/>
              </a:rPr>
              <a:t>mentioned</a:t>
            </a:r>
            <a:r>
              <a:rPr lang="de-AT" sz="1200" dirty="0">
                <a:sym typeface="Wingdings" panose="05000000000000000000" pitchFamily="2" charset="2"/>
              </a:rPr>
              <a:t> in </a:t>
            </a:r>
            <a:r>
              <a:rPr lang="de-AT" sz="1200" dirty="0" err="1" smtClean="0">
                <a:sym typeface="Wingdings" panose="05000000000000000000" pitchFamily="2" charset="2"/>
              </a:rPr>
              <a:t>your</a:t>
            </a:r>
            <a:r>
              <a:rPr lang="de-AT" sz="1200" dirty="0" smtClean="0">
                <a:sym typeface="Wingdings" panose="05000000000000000000" pitchFamily="2" charset="2"/>
              </a:rPr>
              <a:t> </a:t>
            </a:r>
            <a:r>
              <a:rPr lang="de-AT" sz="1200" dirty="0" err="1" smtClean="0">
                <a:sym typeface="Wingdings" panose="05000000000000000000" pitchFamily="2" charset="2"/>
              </a:rPr>
              <a:t>description</a:t>
            </a:r>
            <a:r>
              <a:rPr lang="de-AT" sz="1200" dirty="0" smtClean="0">
                <a:sym typeface="Wingdings" panose="05000000000000000000" pitchFamily="2" charset="2"/>
              </a:rPr>
              <a:t> )</a:t>
            </a:r>
          </a:p>
          <a:p>
            <a:endParaRPr lang="de-AT" sz="1200" dirty="0"/>
          </a:p>
        </p:txBody>
      </p:sp>
    </p:spTree>
    <p:extLst>
      <p:ext uri="{BB962C8B-B14F-4D97-AF65-F5344CB8AC3E}">
        <p14:creationId xmlns:p14="http://schemas.microsoft.com/office/powerpoint/2010/main" val="178416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4643965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How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prepare</a:t>
            </a:r>
            <a:r>
              <a:rPr lang="de-DE" sz="2800" dirty="0"/>
              <a:t> a </a:t>
            </a:r>
            <a:r>
              <a:rPr lang="de-DE" sz="2800" dirty="0" err="1"/>
              <a:t>good</a:t>
            </a:r>
            <a:r>
              <a:rPr lang="de-DE" sz="2800" dirty="0"/>
              <a:t> </a:t>
            </a:r>
            <a:r>
              <a:rPr lang="de-DE" sz="2800" dirty="0" err="1"/>
              <a:t>application</a:t>
            </a:r>
            <a:r>
              <a:rPr lang="de-DE" sz="2800" dirty="0"/>
              <a:t> form?</a:t>
            </a:r>
            <a:endParaRPr lang="de-AT" dirty="0"/>
          </a:p>
        </p:txBody>
      </p:sp>
      <p:grpSp>
        <p:nvGrpSpPr>
          <p:cNvPr id="11" name="Group 4"/>
          <p:cNvGrpSpPr/>
          <p:nvPr/>
        </p:nvGrpSpPr>
        <p:grpSpPr>
          <a:xfrm>
            <a:off x="2091666" y="2276872"/>
            <a:ext cx="5131357" cy="2016224"/>
            <a:chOff x="2307765" y="3645024"/>
            <a:chExt cx="5131566" cy="2088232"/>
          </a:xfrm>
        </p:grpSpPr>
        <p:grpSp>
          <p:nvGrpSpPr>
            <p:cNvPr id="12" name="Group 5"/>
            <p:cNvGrpSpPr/>
            <p:nvPr/>
          </p:nvGrpSpPr>
          <p:grpSpPr>
            <a:xfrm>
              <a:off x="2307765" y="3645024"/>
              <a:ext cx="2393023" cy="2088232"/>
              <a:chOff x="2432046" y="514275"/>
              <a:chExt cx="2720281" cy="1614189"/>
            </a:xfrm>
          </p:grpSpPr>
          <p:sp>
            <p:nvSpPr>
              <p:cNvPr id="14" name="Rectangle 9"/>
              <p:cNvSpPr/>
              <p:nvPr/>
            </p:nvSpPr>
            <p:spPr>
              <a:xfrm>
                <a:off x="2492321" y="514275"/>
                <a:ext cx="2660006" cy="1614189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2">
                  <a:shade val="50000"/>
                  <a:hueOff val="7406"/>
                  <a:satOff val="941"/>
                  <a:lumOff val="13863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Rectangle 10"/>
              <p:cNvSpPr/>
              <p:nvPr/>
            </p:nvSpPr>
            <p:spPr>
              <a:xfrm>
                <a:off x="2432046" y="514275"/>
                <a:ext cx="2693912" cy="161418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5730" tIns="125730" rIns="125730" bIns="125730" numCol="1" spcCol="1270" anchor="ctr" anchorCtr="0">
                <a:noAutofit/>
              </a:bodyPr>
              <a:lstStyle/>
              <a:p>
                <a:pPr lvl="0" algn="ctr" defTabSz="1466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600" dirty="0"/>
                  <a:t>Intervention </a:t>
                </a:r>
                <a:r>
                  <a:rPr lang="de-DE" sz="2600" dirty="0" err="1" smtClean="0"/>
                  <a:t>logic</a:t>
                </a:r>
                <a:r>
                  <a:rPr lang="de-DE" sz="2600" dirty="0" smtClean="0"/>
                  <a:t> </a:t>
                </a:r>
                <a:r>
                  <a:rPr lang="de-DE" sz="2600" dirty="0" err="1" smtClean="0"/>
                  <a:t>and</a:t>
                </a:r>
                <a:r>
                  <a:rPr lang="de-DE" sz="2600" dirty="0" smtClean="0"/>
                  <a:t> </a:t>
                </a:r>
                <a:r>
                  <a:rPr lang="de-DE" sz="2600" dirty="0" err="1" smtClean="0"/>
                  <a:t>outputs</a:t>
                </a:r>
                <a:endParaRPr lang="de-DE" sz="2600" dirty="0"/>
              </a:p>
            </p:txBody>
          </p:sp>
        </p:grpSp>
        <p:sp>
          <p:nvSpPr>
            <p:cNvPr id="13" name="Rectangle 8"/>
            <p:cNvSpPr/>
            <p:nvPr/>
          </p:nvSpPr>
          <p:spPr>
            <a:xfrm>
              <a:off x="5135074" y="3645024"/>
              <a:ext cx="2304257" cy="20882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5730" tIns="125730" rIns="125730" bIns="125730" numCol="1" spcCol="1270" anchor="ctr" anchorCtr="0">
              <a:noAutofit/>
            </a:bodyPr>
            <a:lstStyle/>
            <a:p>
              <a:pPr lvl="0" algn="ctr" defTabSz="1466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2600" kern="1200" dirty="0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27230" y="3079200"/>
            <a:ext cx="451539" cy="349800"/>
            <a:chOff x="1620262" y="549813"/>
            <a:chExt cx="451539" cy="349800"/>
          </a:xfrm>
        </p:grpSpPr>
        <p:sp>
          <p:nvSpPr>
            <p:cNvPr id="17" name="Pfeil nach rechts 16"/>
            <p:cNvSpPr/>
            <p:nvPr/>
          </p:nvSpPr>
          <p:spPr>
            <a:xfrm>
              <a:off x="1620262" y="549813"/>
              <a:ext cx="451539" cy="3498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0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8" name="Pfeil nach rechts 4"/>
            <p:cNvSpPr txBox="1"/>
            <p:nvPr/>
          </p:nvSpPr>
          <p:spPr>
            <a:xfrm>
              <a:off x="1620262" y="619773"/>
              <a:ext cx="346599" cy="2098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900" kern="1200" noProof="0" dirty="0">
                <a:solidFill>
                  <a:sysClr val="window" lastClr="FFFFFF"/>
                </a:solidFill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feld 18"/>
          <p:cNvSpPr txBox="1"/>
          <p:nvPr/>
        </p:nvSpPr>
        <p:spPr>
          <a:xfrm>
            <a:off x="5457056" y="2780928"/>
            <a:ext cx="309634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600" dirty="0" err="1"/>
              <a:t>Your</a:t>
            </a:r>
            <a:r>
              <a:rPr lang="de-DE" sz="2600" dirty="0"/>
              <a:t> </a:t>
            </a:r>
            <a:r>
              <a:rPr lang="de-DE" sz="2600" dirty="0" err="1"/>
              <a:t>contribution</a:t>
            </a:r>
            <a:r>
              <a:rPr lang="de-DE" sz="2600" dirty="0"/>
              <a:t> </a:t>
            </a:r>
            <a:r>
              <a:rPr lang="de-DE" sz="2600" dirty="0" err="1"/>
              <a:t>to</a:t>
            </a:r>
            <a:r>
              <a:rPr lang="de-DE" sz="2600" dirty="0"/>
              <a:t> </a:t>
            </a:r>
            <a:r>
              <a:rPr lang="de-DE" sz="2600" dirty="0" err="1"/>
              <a:t>the</a:t>
            </a:r>
            <a:r>
              <a:rPr lang="de-DE" sz="2600" dirty="0"/>
              <a:t> </a:t>
            </a:r>
            <a:r>
              <a:rPr lang="de-DE" sz="2600" dirty="0" err="1" smtClean="0"/>
              <a:t>programme</a:t>
            </a:r>
            <a:endParaRPr lang="it-IT" sz="2600" dirty="0"/>
          </a:p>
        </p:txBody>
      </p:sp>
    </p:spTree>
    <p:extLst>
      <p:ext uri="{BB962C8B-B14F-4D97-AF65-F5344CB8AC3E}">
        <p14:creationId xmlns:p14="http://schemas.microsoft.com/office/powerpoint/2010/main" val="235237189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1</a:t>
            </a:r>
            <a:endParaRPr lang="it-IT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63891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1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2198244" y="4355812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9" name="Textfeld 8"/>
          <p:cNvSpPr txBox="1"/>
          <p:nvPr/>
        </p:nvSpPr>
        <p:spPr>
          <a:xfrm>
            <a:off x="363840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mtClean="0"/>
              <a:t>activity</a:t>
            </a:r>
            <a:endParaRPr lang="it-IT" dirty="0"/>
          </a:p>
        </p:txBody>
      </p:sp>
      <p:sp>
        <p:nvSpPr>
          <p:cNvPr id="11" name="Textfeld 10"/>
          <p:cNvSpPr txBox="1"/>
          <p:nvPr/>
        </p:nvSpPr>
        <p:spPr>
          <a:xfrm>
            <a:off x="507856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mtClean="0"/>
              <a:t>activity</a:t>
            </a:r>
            <a:endParaRPr lang="it-IT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682144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2000672" y="3442464"/>
            <a:ext cx="4608512" cy="27228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1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2198244" y="4355812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9" name="Textfeld 8"/>
          <p:cNvSpPr txBox="1"/>
          <p:nvPr/>
        </p:nvSpPr>
        <p:spPr>
          <a:xfrm>
            <a:off x="363840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3" name="Inhaltsplatzhalter 12"/>
          <p:cNvSpPr txBox="1">
            <a:spLocks noGrp="1"/>
          </p:cNvSpPr>
          <p:nvPr>
            <p:ph idx="1"/>
          </p:nvPr>
        </p:nvSpPr>
        <p:spPr>
          <a:xfrm>
            <a:off x="219884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4" name="Inhaltsplatzhalter 12"/>
          <p:cNvSpPr txBox="1">
            <a:spLocks/>
          </p:cNvSpPr>
          <p:nvPr/>
        </p:nvSpPr>
        <p:spPr>
          <a:xfrm>
            <a:off x="363900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1" name="Textfeld 10"/>
          <p:cNvSpPr txBox="1"/>
          <p:nvPr/>
        </p:nvSpPr>
        <p:spPr>
          <a:xfrm>
            <a:off x="507856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2" name="Inhaltsplatzhalter 12"/>
          <p:cNvSpPr txBox="1">
            <a:spLocks/>
          </p:cNvSpPr>
          <p:nvPr/>
        </p:nvSpPr>
        <p:spPr>
          <a:xfrm>
            <a:off x="507916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09152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2000672" y="3442464"/>
            <a:ext cx="4608512" cy="27228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1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2198244" y="4355812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9" name="Textfeld 8"/>
          <p:cNvSpPr txBox="1"/>
          <p:nvPr/>
        </p:nvSpPr>
        <p:spPr>
          <a:xfrm>
            <a:off x="363840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3" name="Inhaltsplatzhalter 12"/>
          <p:cNvSpPr txBox="1">
            <a:spLocks noGrp="1"/>
          </p:cNvSpPr>
          <p:nvPr>
            <p:ph idx="1"/>
          </p:nvPr>
        </p:nvSpPr>
        <p:spPr>
          <a:xfrm>
            <a:off x="219884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4" name="Inhaltsplatzhalter 12"/>
          <p:cNvSpPr txBox="1">
            <a:spLocks/>
          </p:cNvSpPr>
          <p:nvPr/>
        </p:nvSpPr>
        <p:spPr>
          <a:xfrm>
            <a:off x="363900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0" name="Gleichschenkliges Dreieck 9"/>
          <p:cNvSpPr/>
          <p:nvPr/>
        </p:nvSpPr>
        <p:spPr>
          <a:xfrm>
            <a:off x="2000673" y="1416900"/>
            <a:ext cx="4608511" cy="1940092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output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07856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2" name="Inhaltsplatzhalter 12"/>
          <p:cNvSpPr txBox="1">
            <a:spLocks/>
          </p:cNvSpPr>
          <p:nvPr/>
        </p:nvSpPr>
        <p:spPr>
          <a:xfrm>
            <a:off x="507916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309223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2000672" y="3442464"/>
            <a:ext cx="4608512" cy="27228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1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2198244" y="4355812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9" name="Textfeld 8"/>
          <p:cNvSpPr txBox="1"/>
          <p:nvPr/>
        </p:nvSpPr>
        <p:spPr>
          <a:xfrm>
            <a:off x="363840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3" name="Inhaltsplatzhalter 12"/>
          <p:cNvSpPr txBox="1">
            <a:spLocks noGrp="1"/>
          </p:cNvSpPr>
          <p:nvPr>
            <p:ph idx="1"/>
          </p:nvPr>
        </p:nvSpPr>
        <p:spPr>
          <a:xfrm>
            <a:off x="219884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4" name="Inhaltsplatzhalter 12"/>
          <p:cNvSpPr txBox="1">
            <a:spLocks/>
          </p:cNvSpPr>
          <p:nvPr/>
        </p:nvSpPr>
        <p:spPr>
          <a:xfrm>
            <a:off x="363900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0" name="Gleichschenkliges Dreieck 9"/>
          <p:cNvSpPr/>
          <p:nvPr/>
        </p:nvSpPr>
        <p:spPr>
          <a:xfrm>
            <a:off x="2000673" y="1416900"/>
            <a:ext cx="4608511" cy="1940092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output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07856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2" name="Inhaltsplatzhalter 12"/>
          <p:cNvSpPr txBox="1">
            <a:spLocks/>
          </p:cNvSpPr>
          <p:nvPr/>
        </p:nvSpPr>
        <p:spPr>
          <a:xfrm>
            <a:off x="507916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1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5745088" y="2218328"/>
            <a:ext cx="432048" cy="792088"/>
          </a:xfrm>
          <a:prstGeom prst="rect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Wolke 16"/>
          <p:cNvSpPr/>
          <p:nvPr/>
        </p:nvSpPr>
        <p:spPr>
          <a:xfrm>
            <a:off x="5925108" y="1457782"/>
            <a:ext cx="1368152" cy="763747"/>
          </a:xfrm>
          <a:prstGeom prst="cloud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r</a:t>
            </a:r>
            <a:r>
              <a:rPr lang="de-DE" dirty="0" err="1" smtClean="0">
                <a:solidFill>
                  <a:schemeClr val="tx1"/>
                </a:solidFill>
              </a:rPr>
              <a:t>esult</a:t>
            </a:r>
            <a:endParaRPr lang="it-IT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2000672" y="3442464"/>
            <a:ext cx="4608512" cy="27228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2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2198244" y="4355812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9" name="Textfeld 8"/>
          <p:cNvSpPr txBox="1"/>
          <p:nvPr/>
        </p:nvSpPr>
        <p:spPr>
          <a:xfrm>
            <a:off x="363840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3" name="Inhaltsplatzhalter 12"/>
          <p:cNvSpPr txBox="1">
            <a:spLocks noGrp="1"/>
          </p:cNvSpPr>
          <p:nvPr>
            <p:ph idx="1"/>
          </p:nvPr>
        </p:nvSpPr>
        <p:spPr>
          <a:xfrm>
            <a:off x="219884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4" name="Inhaltsplatzhalter 12"/>
          <p:cNvSpPr txBox="1">
            <a:spLocks/>
          </p:cNvSpPr>
          <p:nvPr/>
        </p:nvSpPr>
        <p:spPr>
          <a:xfrm>
            <a:off x="363900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0" name="Gleichschenkliges Dreieck 9"/>
          <p:cNvSpPr/>
          <p:nvPr/>
        </p:nvSpPr>
        <p:spPr>
          <a:xfrm>
            <a:off x="2000673" y="1416900"/>
            <a:ext cx="4608511" cy="1940092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output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07856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2" name="Inhaltsplatzhalter 12"/>
          <p:cNvSpPr txBox="1">
            <a:spLocks/>
          </p:cNvSpPr>
          <p:nvPr/>
        </p:nvSpPr>
        <p:spPr>
          <a:xfrm>
            <a:off x="507916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2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39599500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 flipV="1">
            <a:off x="560512" y="1988840"/>
            <a:ext cx="22884" cy="374441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2000672" y="3442464"/>
            <a:ext cx="4608512" cy="27228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extfeld 6"/>
          <p:cNvSpPr txBox="1"/>
          <p:nvPr/>
        </p:nvSpPr>
        <p:spPr>
          <a:xfrm>
            <a:off x="2152452" y="5589240"/>
            <a:ext cx="4312716" cy="369332"/>
          </a:xfrm>
          <a:prstGeom prst="rect">
            <a:avLst/>
          </a:prstGeom>
          <a:solidFill>
            <a:srgbClr val="C8C2E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package</a:t>
            </a:r>
            <a:r>
              <a:rPr lang="de-DE" dirty="0" smtClean="0"/>
              <a:t> </a:t>
            </a:r>
            <a:r>
              <a:rPr lang="de-DE" dirty="0"/>
              <a:t>3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2198244" y="4355812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9" name="Textfeld 8"/>
          <p:cNvSpPr txBox="1"/>
          <p:nvPr/>
        </p:nvSpPr>
        <p:spPr>
          <a:xfrm>
            <a:off x="363840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3" name="Inhaltsplatzhalter 12"/>
          <p:cNvSpPr txBox="1">
            <a:spLocks noGrp="1"/>
          </p:cNvSpPr>
          <p:nvPr>
            <p:ph idx="1"/>
          </p:nvPr>
        </p:nvSpPr>
        <p:spPr>
          <a:xfrm>
            <a:off x="219884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1" name="Textfeld 10"/>
          <p:cNvSpPr txBox="1"/>
          <p:nvPr/>
        </p:nvSpPr>
        <p:spPr>
          <a:xfrm>
            <a:off x="5078564" y="4353643"/>
            <a:ext cx="1386604" cy="369332"/>
          </a:xfrm>
          <a:prstGeom prst="rect">
            <a:avLst/>
          </a:prstGeom>
          <a:solidFill>
            <a:srgbClr val="EBCFB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activity</a:t>
            </a:r>
            <a:endParaRPr lang="it-IT" dirty="0"/>
          </a:p>
        </p:txBody>
      </p:sp>
      <p:sp>
        <p:nvSpPr>
          <p:cNvPr id="12" name="Inhaltsplatzhalter 12"/>
          <p:cNvSpPr txBox="1">
            <a:spLocks/>
          </p:cNvSpPr>
          <p:nvPr/>
        </p:nvSpPr>
        <p:spPr>
          <a:xfrm>
            <a:off x="5079168" y="3717032"/>
            <a:ext cx="138600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96969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e-DE" sz="1800" dirty="0" err="1" smtClean="0"/>
              <a:t>deliverable</a:t>
            </a:r>
            <a:endParaRPr lang="it-IT" sz="1800" dirty="0"/>
          </a:p>
        </p:txBody>
      </p:sp>
      <p:sp>
        <p:nvSpPr>
          <p:cNvPr id="15" name="Textfeld 14"/>
          <p:cNvSpPr txBox="1"/>
          <p:nvPr/>
        </p:nvSpPr>
        <p:spPr>
          <a:xfrm>
            <a:off x="2152452" y="4941168"/>
            <a:ext cx="431271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objective</a:t>
            </a:r>
            <a:r>
              <a:rPr lang="de-DE" dirty="0" smtClean="0"/>
              <a:t> </a:t>
            </a:r>
            <a:r>
              <a:rPr lang="de-DE" dirty="0"/>
              <a:t>3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70451790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sp>
        <p:nvSpPr>
          <p:cNvPr id="14" name="Rechteck 13"/>
          <p:cNvSpPr/>
          <p:nvPr/>
        </p:nvSpPr>
        <p:spPr>
          <a:xfrm>
            <a:off x="4160912" y="1952836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2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89104" y="3645024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3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996694" y="2960948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1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8" name="Gleichschenkliges Dreieck 17"/>
          <p:cNvSpPr/>
          <p:nvPr/>
        </p:nvSpPr>
        <p:spPr>
          <a:xfrm>
            <a:off x="1996694" y="2420888"/>
            <a:ext cx="1368152" cy="50405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Gleichschenkliges Dreieck 18"/>
          <p:cNvSpPr/>
          <p:nvPr/>
        </p:nvSpPr>
        <p:spPr>
          <a:xfrm>
            <a:off x="4160912" y="1412776"/>
            <a:ext cx="1368152" cy="50405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Rechteck 19"/>
          <p:cNvSpPr/>
          <p:nvPr/>
        </p:nvSpPr>
        <p:spPr>
          <a:xfrm>
            <a:off x="3008784" y="2548964"/>
            <a:ext cx="144016" cy="234026"/>
          </a:xfrm>
          <a:prstGeom prst="rect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Wolke 20"/>
          <p:cNvSpPr/>
          <p:nvPr/>
        </p:nvSpPr>
        <p:spPr>
          <a:xfrm>
            <a:off x="3037333" y="2267567"/>
            <a:ext cx="455988" cy="278886"/>
          </a:xfrm>
          <a:prstGeom prst="cloud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79670591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sp>
        <p:nvSpPr>
          <p:cNvPr id="5" name="Ellipse 4"/>
          <p:cNvSpPr/>
          <p:nvPr/>
        </p:nvSpPr>
        <p:spPr>
          <a:xfrm>
            <a:off x="1208584" y="1340768"/>
            <a:ext cx="6984776" cy="4536504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0" name="Textfeld 9"/>
          <p:cNvSpPr txBox="1"/>
          <p:nvPr/>
        </p:nvSpPr>
        <p:spPr>
          <a:xfrm>
            <a:off x="3800872" y="587727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err="1">
                <a:solidFill>
                  <a:schemeClr val="accent1">
                    <a:lumMod val="75000"/>
                  </a:schemeClr>
                </a:solidFill>
              </a:rPr>
              <a:t>o</a:t>
            </a:r>
            <a:r>
              <a:rPr lang="de-AT" dirty="0" err="1" smtClean="0">
                <a:solidFill>
                  <a:schemeClr val="accent1">
                    <a:lumMod val="75000"/>
                  </a:schemeClr>
                </a:solidFill>
              </a:rPr>
              <a:t>verall</a:t>
            </a:r>
            <a:r>
              <a:rPr lang="de-AT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AT" dirty="0" err="1" smtClean="0">
                <a:solidFill>
                  <a:schemeClr val="accent1">
                    <a:lumMod val="75000"/>
                  </a:schemeClr>
                </a:solidFill>
              </a:rPr>
              <a:t>objective</a:t>
            </a:r>
            <a:endParaRPr lang="de-AT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160912" y="1952836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2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89104" y="3645024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3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996694" y="2960948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1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8" name="Gleichschenkliges Dreieck 17"/>
          <p:cNvSpPr/>
          <p:nvPr/>
        </p:nvSpPr>
        <p:spPr>
          <a:xfrm>
            <a:off x="1996694" y="2420888"/>
            <a:ext cx="1368152" cy="50405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Gleichschenkliges Dreieck 18"/>
          <p:cNvSpPr/>
          <p:nvPr/>
        </p:nvSpPr>
        <p:spPr>
          <a:xfrm>
            <a:off x="4160912" y="1412776"/>
            <a:ext cx="1368152" cy="50405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Rechteck 19"/>
          <p:cNvSpPr/>
          <p:nvPr/>
        </p:nvSpPr>
        <p:spPr>
          <a:xfrm>
            <a:off x="3008784" y="2548964"/>
            <a:ext cx="144016" cy="234026"/>
          </a:xfrm>
          <a:prstGeom prst="rect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Wolke 20"/>
          <p:cNvSpPr/>
          <p:nvPr/>
        </p:nvSpPr>
        <p:spPr>
          <a:xfrm>
            <a:off x="3037333" y="2267567"/>
            <a:ext cx="455988" cy="278886"/>
          </a:xfrm>
          <a:prstGeom prst="cloud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755078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In a </a:t>
            </a:r>
            <a:r>
              <a:rPr lang="de-AT" sz="2800" dirty="0" err="1" smtClean="0"/>
              <a:t>nutshell</a:t>
            </a:r>
            <a:r>
              <a:rPr lang="de-AT" sz="2800" dirty="0" smtClean="0"/>
              <a:t>…</a:t>
            </a:r>
            <a:endParaRPr lang="de-AT" dirty="0"/>
          </a:p>
        </p:txBody>
      </p:sp>
      <p:sp>
        <p:nvSpPr>
          <p:cNvPr id="5" name="Ellipse 4"/>
          <p:cNvSpPr/>
          <p:nvPr/>
        </p:nvSpPr>
        <p:spPr>
          <a:xfrm>
            <a:off x="1208584" y="1340768"/>
            <a:ext cx="6984776" cy="4536504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0" name="Textfeld 9"/>
          <p:cNvSpPr txBox="1"/>
          <p:nvPr/>
        </p:nvSpPr>
        <p:spPr>
          <a:xfrm>
            <a:off x="3800872" y="587727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err="1">
                <a:solidFill>
                  <a:schemeClr val="accent1">
                    <a:lumMod val="75000"/>
                  </a:schemeClr>
                </a:solidFill>
              </a:rPr>
              <a:t>o</a:t>
            </a:r>
            <a:r>
              <a:rPr lang="de-AT" dirty="0" err="1" smtClean="0">
                <a:solidFill>
                  <a:schemeClr val="accent1">
                    <a:lumMod val="75000"/>
                  </a:schemeClr>
                </a:solidFill>
              </a:rPr>
              <a:t>verall</a:t>
            </a:r>
            <a:r>
              <a:rPr lang="de-AT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AT" dirty="0" err="1" smtClean="0">
                <a:solidFill>
                  <a:schemeClr val="accent1">
                    <a:lumMod val="75000"/>
                  </a:schemeClr>
                </a:solidFill>
              </a:rPr>
              <a:t>objective</a:t>
            </a:r>
            <a:endParaRPr lang="de-AT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160912" y="1952836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2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89104" y="3645024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3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996694" y="2960948"/>
            <a:ext cx="1368152" cy="972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>
                <a:solidFill>
                  <a:sysClr val="windowText" lastClr="000000"/>
                </a:solidFill>
              </a:rPr>
              <a:t>WP 1</a:t>
            </a:r>
            <a:endParaRPr lang="de-AT" dirty="0">
              <a:solidFill>
                <a:sysClr val="windowText" lastClr="000000"/>
              </a:solidFill>
            </a:endParaRPr>
          </a:p>
        </p:txBody>
      </p:sp>
      <p:sp>
        <p:nvSpPr>
          <p:cNvPr id="18" name="Gleichschenkliges Dreieck 17"/>
          <p:cNvSpPr/>
          <p:nvPr/>
        </p:nvSpPr>
        <p:spPr>
          <a:xfrm>
            <a:off x="1996694" y="2420888"/>
            <a:ext cx="1368152" cy="50405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Gleichschenkliges Dreieck 18"/>
          <p:cNvSpPr/>
          <p:nvPr/>
        </p:nvSpPr>
        <p:spPr>
          <a:xfrm>
            <a:off x="4160912" y="1412776"/>
            <a:ext cx="1368152" cy="50405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Rechteck 19"/>
          <p:cNvSpPr/>
          <p:nvPr/>
        </p:nvSpPr>
        <p:spPr>
          <a:xfrm>
            <a:off x="3008784" y="2548964"/>
            <a:ext cx="144016" cy="234026"/>
          </a:xfrm>
          <a:prstGeom prst="rect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Wolke 20"/>
          <p:cNvSpPr/>
          <p:nvPr/>
        </p:nvSpPr>
        <p:spPr>
          <a:xfrm>
            <a:off x="3037333" y="2267567"/>
            <a:ext cx="455988" cy="278886"/>
          </a:xfrm>
          <a:prstGeom prst="cloud">
            <a:avLst/>
          </a:prstGeom>
          <a:solidFill>
            <a:srgbClr val="FFE5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23" name="Gekrümmter Verbinder 22"/>
          <p:cNvCxnSpPr/>
          <p:nvPr/>
        </p:nvCxnSpPr>
        <p:spPr>
          <a:xfrm>
            <a:off x="3347477" y="3589615"/>
            <a:ext cx="2541627" cy="833995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r Verbinder 25"/>
          <p:cNvCxnSpPr>
            <a:stCxn id="14" idx="2"/>
            <a:endCxn id="16" idx="0"/>
          </p:cNvCxnSpPr>
          <p:nvPr/>
        </p:nvCxnSpPr>
        <p:spPr>
          <a:xfrm rot="16200000" flipH="1">
            <a:off x="5349044" y="2420888"/>
            <a:ext cx="720080" cy="1728192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krümmter Verbinder 30"/>
          <p:cNvCxnSpPr/>
          <p:nvPr/>
        </p:nvCxnSpPr>
        <p:spPr>
          <a:xfrm rot="10800000" flipV="1">
            <a:off x="3364846" y="2782990"/>
            <a:ext cx="788110" cy="492702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275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20" name="Grafik 19" descr="C:\Users\sbg04882\AppData\Local\Microsoft\Windows\INetCache\Content.Outlook\AKH3I1T9\territorialchange_v3 (002)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2682" r="1034" b="46449"/>
          <a:stretch/>
        </p:blipFill>
        <p:spPr bwMode="auto">
          <a:xfrm>
            <a:off x="1424608" y="1340768"/>
            <a:ext cx="6181306" cy="4896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3272270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A </a:t>
            </a:r>
            <a:r>
              <a:rPr lang="de-AT" sz="2800" dirty="0" err="1" smtClean="0"/>
              <a:t>few</a:t>
            </a:r>
            <a:r>
              <a:rPr lang="de-AT" sz="2800" dirty="0" smtClean="0"/>
              <a:t> </a:t>
            </a:r>
            <a:r>
              <a:rPr lang="de-AT" sz="2800" dirty="0" err="1" smtClean="0"/>
              <a:t>questions</a:t>
            </a:r>
            <a:r>
              <a:rPr lang="de-AT" sz="2800" dirty="0" smtClean="0"/>
              <a:t> </a:t>
            </a:r>
            <a:r>
              <a:rPr lang="de-AT" sz="2800" dirty="0" err="1" smtClean="0"/>
              <a:t>for</a:t>
            </a:r>
            <a:r>
              <a:rPr lang="de-AT" sz="2800" dirty="0" smtClean="0"/>
              <a:t> </a:t>
            </a:r>
            <a:r>
              <a:rPr lang="de-AT" sz="2800" dirty="0" err="1" smtClean="0"/>
              <a:t>you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 smtClean="0">
                <a:latin typeface="Arial" panose="020B0604020202020204" pitchFamily="34" charset="0"/>
              </a:rPr>
              <a:t>→  </a:t>
            </a:r>
            <a:r>
              <a:rPr lang="de-AT" b="1" dirty="0" smtClean="0"/>
              <a:t>Do </a:t>
            </a:r>
            <a:r>
              <a:rPr lang="de-AT" b="1" dirty="0" err="1"/>
              <a:t>you</a:t>
            </a:r>
            <a:r>
              <a:rPr lang="de-AT" b="1" dirty="0"/>
              <a:t> </a:t>
            </a:r>
            <a:r>
              <a:rPr lang="de-AT" b="1" dirty="0" err="1"/>
              <a:t>have</a:t>
            </a:r>
            <a:r>
              <a:rPr lang="de-AT" b="1" dirty="0"/>
              <a:t> </a:t>
            </a:r>
            <a:r>
              <a:rPr lang="de-AT" b="1" dirty="0" err="1"/>
              <a:t>to</a:t>
            </a:r>
            <a:r>
              <a:rPr lang="de-AT" b="1" dirty="0"/>
              <a:t> </a:t>
            </a:r>
            <a:r>
              <a:rPr lang="de-AT" b="1" dirty="0" err="1"/>
              <a:t>create</a:t>
            </a:r>
            <a:r>
              <a:rPr lang="de-AT" b="1" dirty="0"/>
              <a:t> </a:t>
            </a:r>
            <a:r>
              <a:rPr lang="de-AT" b="1" dirty="0" err="1" smtClean="0"/>
              <a:t>the</a:t>
            </a:r>
            <a:r>
              <a:rPr lang="de-AT" b="1" dirty="0" smtClean="0"/>
              <a:t> </a:t>
            </a:r>
            <a:r>
              <a:rPr lang="de-AT" b="1" dirty="0" err="1" smtClean="0"/>
              <a:t>work</a:t>
            </a:r>
            <a:r>
              <a:rPr lang="de-AT" b="1" dirty="0" smtClean="0"/>
              <a:t> </a:t>
            </a:r>
            <a:r>
              <a:rPr lang="de-AT" b="1" dirty="0" err="1" smtClean="0"/>
              <a:t>packages</a:t>
            </a:r>
            <a:r>
              <a:rPr lang="de-AT" b="1" dirty="0" smtClean="0"/>
              <a:t> Management </a:t>
            </a:r>
            <a:r>
              <a:rPr lang="de-AT" b="1" dirty="0"/>
              <a:t>and </a:t>
            </a:r>
            <a:r>
              <a:rPr lang="de-AT" b="1" dirty="0" smtClean="0"/>
              <a:t>Communication </a:t>
            </a:r>
            <a:r>
              <a:rPr lang="de-AT" b="1" dirty="0"/>
              <a:t>in </a:t>
            </a:r>
            <a:r>
              <a:rPr lang="de-AT" b="1" dirty="0" err="1"/>
              <a:t>your</a:t>
            </a:r>
            <a:r>
              <a:rPr lang="de-AT" b="1" dirty="0"/>
              <a:t> AF?</a:t>
            </a:r>
          </a:p>
          <a:p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A:  </a:t>
            </a:r>
            <a:r>
              <a:rPr lang="de-AT" dirty="0" err="1"/>
              <a:t>only</a:t>
            </a:r>
            <a:r>
              <a:rPr lang="de-AT" dirty="0"/>
              <a:t> WP Management</a:t>
            </a:r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B:  </a:t>
            </a:r>
            <a:r>
              <a:rPr lang="de-AT" dirty="0" err="1"/>
              <a:t>only</a:t>
            </a:r>
            <a:r>
              <a:rPr lang="de-AT" dirty="0"/>
              <a:t> WP Communication</a:t>
            </a:r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C</a:t>
            </a:r>
            <a:r>
              <a:rPr lang="de-AT" dirty="0"/>
              <a:t>: </a:t>
            </a:r>
            <a:r>
              <a:rPr lang="de-AT" dirty="0" smtClean="0"/>
              <a:t> </a:t>
            </a:r>
            <a:r>
              <a:rPr lang="de-AT" dirty="0" err="1" smtClean="0"/>
              <a:t>yes</a:t>
            </a:r>
            <a:r>
              <a:rPr lang="de-AT" dirty="0" smtClean="0"/>
              <a:t>, </a:t>
            </a:r>
            <a:r>
              <a:rPr lang="de-AT" dirty="0" err="1" smtClean="0"/>
              <a:t>both</a:t>
            </a:r>
            <a:r>
              <a:rPr lang="de-AT" dirty="0" smtClean="0"/>
              <a:t>!</a:t>
            </a:r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D</a:t>
            </a:r>
            <a:r>
              <a:rPr lang="de-AT" dirty="0"/>
              <a:t>: </a:t>
            </a:r>
            <a:r>
              <a:rPr lang="de-AT" dirty="0" smtClean="0"/>
              <a:t> </a:t>
            </a:r>
            <a:r>
              <a:rPr lang="de-AT" dirty="0" err="1" smtClean="0"/>
              <a:t>no</a:t>
            </a:r>
            <a:r>
              <a:rPr lang="de-AT" dirty="0" smtClean="0"/>
              <a:t>, </a:t>
            </a:r>
            <a:r>
              <a:rPr lang="de-AT" dirty="0" err="1" smtClean="0"/>
              <a:t>none</a:t>
            </a:r>
            <a:r>
              <a:rPr lang="de-AT" dirty="0" smtClean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 smtClean="0"/>
              <a:t>them</a:t>
            </a:r>
            <a:r>
              <a:rPr lang="de-AT" dirty="0" smtClean="0"/>
              <a:t>!</a:t>
            </a:r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77986951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A </a:t>
            </a:r>
            <a:r>
              <a:rPr lang="de-AT" sz="2800" dirty="0" err="1" smtClean="0"/>
              <a:t>few</a:t>
            </a:r>
            <a:r>
              <a:rPr lang="de-AT" sz="2800" dirty="0" smtClean="0"/>
              <a:t> </a:t>
            </a:r>
            <a:r>
              <a:rPr lang="de-AT" sz="2800" dirty="0" err="1" smtClean="0"/>
              <a:t>questions</a:t>
            </a:r>
            <a:r>
              <a:rPr lang="de-AT" sz="2800" dirty="0" smtClean="0"/>
              <a:t> </a:t>
            </a:r>
            <a:r>
              <a:rPr lang="de-AT" sz="2800" dirty="0" err="1" smtClean="0"/>
              <a:t>for</a:t>
            </a:r>
            <a:r>
              <a:rPr lang="de-AT" sz="2800" dirty="0" smtClean="0"/>
              <a:t> </a:t>
            </a:r>
            <a:r>
              <a:rPr lang="de-AT" sz="2800" dirty="0" err="1" smtClean="0"/>
              <a:t>you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84636" cy="4525963"/>
          </a:xfrm>
        </p:spPr>
        <p:txBody>
          <a:bodyPr/>
          <a:lstStyle/>
          <a:p>
            <a:pPr marL="0" indent="0">
              <a:buNone/>
            </a:pPr>
            <a:r>
              <a:rPr lang="de-AT" b="1" dirty="0" smtClean="0">
                <a:latin typeface="Arial" panose="020B0604020202020204" pitchFamily="34" charset="0"/>
              </a:rPr>
              <a:t>→  </a:t>
            </a:r>
            <a:r>
              <a:rPr lang="en-US" b="1" dirty="0" smtClean="0"/>
              <a:t>Which </a:t>
            </a:r>
            <a:r>
              <a:rPr lang="en-US" b="1" dirty="0"/>
              <a:t>output indicator should you select for </a:t>
            </a:r>
            <a:r>
              <a:rPr lang="en-US" b="1" dirty="0" smtClean="0"/>
              <a:t>policy recommendations?</a:t>
            </a:r>
            <a:endParaRPr lang="en-US" b="1" dirty="0"/>
          </a:p>
          <a:p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A:  </a:t>
            </a:r>
            <a:r>
              <a:rPr lang="de-AT" dirty="0" err="1" smtClean="0"/>
              <a:t>pilot</a:t>
            </a:r>
            <a:r>
              <a:rPr lang="de-AT" dirty="0" smtClean="0"/>
              <a:t> </a:t>
            </a:r>
            <a:r>
              <a:rPr lang="de-AT" dirty="0" err="1" smtClean="0"/>
              <a:t>actions</a:t>
            </a:r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B</a:t>
            </a:r>
            <a:r>
              <a:rPr lang="de-AT" dirty="0"/>
              <a:t>: </a:t>
            </a:r>
            <a:r>
              <a:rPr lang="de-AT" dirty="0" smtClean="0"/>
              <a:t> </a:t>
            </a:r>
            <a:r>
              <a:rPr lang="de-AT" dirty="0" err="1" smtClean="0"/>
              <a:t>jointly</a:t>
            </a:r>
            <a:r>
              <a:rPr lang="de-AT" dirty="0" smtClean="0"/>
              <a:t> </a:t>
            </a:r>
            <a:r>
              <a:rPr lang="de-AT" dirty="0" err="1"/>
              <a:t>developed</a:t>
            </a:r>
            <a:r>
              <a:rPr lang="de-AT" dirty="0"/>
              <a:t> </a:t>
            </a:r>
            <a:r>
              <a:rPr lang="de-AT" dirty="0" err="1"/>
              <a:t>solution</a:t>
            </a:r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C</a:t>
            </a:r>
            <a:r>
              <a:rPr lang="de-AT" dirty="0"/>
              <a:t>: </a:t>
            </a:r>
            <a:r>
              <a:rPr lang="de-AT" dirty="0" smtClean="0"/>
              <a:t> </a:t>
            </a:r>
            <a:r>
              <a:rPr lang="de-AT" dirty="0" err="1" smtClean="0"/>
              <a:t>other</a:t>
            </a:r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D</a:t>
            </a:r>
            <a:r>
              <a:rPr lang="de-AT" dirty="0"/>
              <a:t>: </a:t>
            </a:r>
            <a:r>
              <a:rPr lang="de-AT" dirty="0" smtClean="0"/>
              <a:t> </a:t>
            </a:r>
            <a:r>
              <a:rPr lang="de-AT" dirty="0" err="1" smtClean="0"/>
              <a:t>none</a:t>
            </a:r>
            <a:r>
              <a:rPr lang="de-AT" dirty="0" smtClean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 smtClean="0"/>
              <a:t>them</a:t>
            </a:r>
            <a:r>
              <a:rPr lang="de-AT" dirty="0" smtClean="0"/>
              <a:t>, </a:t>
            </a:r>
            <a:r>
              <a:rPr lang="de-AT" dirty="0" err="1" smtClean="0"/>
              <a:t>this</a:t>
            </a:r>
            <a:r>
              <a:rPr lang="de-AT" dirty="0" smtClean="0"/>
              <a:t> </a:t>
            </a:r>
            <a:r>
              <a:rPr lang="de-AT" dirty="0" err="1" smtClean="0"/>
              <a:t>is</a:t>
            </a:r>
            <a:r>
              <a:rPr lang="de-AT" dirty="0" smtClean="0"/>
              <a:t> a </a:t>
            </a:r>
            <a:r>
              <a:rPr lang="de-AT" dirty="0" err="1" smtClean="0"/>
              <a:t>deliverable</a:t>
            </a:r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18096939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A </a:t>
            </a:r>
            <a:r>
              <a:rPr lang="de-AT" sz="2800" dirty="0" err="1" smtClean="0"/>
              <a:t>few</a:t>
            </a:r>
            <a:r>
              <a:rPr lang="de-AT" sz="2800" dirty="0" smtClean="0"/>
              <a:t> </a:t>
            </a:r>
            <a:r>
              <a:rPr lang="de-AT" sz="2800" dirty="0" err="1" smtClean="0"/>
              <a:t>questions</a:t>
            </a:r>
            <a:r>
              <a:rPr lang="de-AT" sz="2800" dirty="0" smtClean="0"/>
              <a:t> </a:t>
            </a:r>
            <a:r>
              <a:rPr lang="de-AT" sz="2800" dirty="0" err="1" smtClean="0"/>
              <a:t>for</a:t>
            </a:r>
            <a:r>
              <a:rPr lang="de-AT" sz="2800" dirty="0" smtClean="0"/>
              <a:t> </a:t>
            </a:r>
            <a:r>
              <a:rPr lang="de-AT" sz="2800" dirty="0" err="1" smtClean="0"/>
              <a:t>you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84636" cy="4525963"/>
          </a:xfrm>
        </p:spPr>
        <p:txBody>
          <a:bodyPr/>
          <a:lstStyle/>
          <a:p>
            <a:pPr marL="0" indent="0">
              <a:buNone/>
            </a:pPr>
            <a:r>
              <a:rPr lang="de-AT" b="1" dirty="0" smtClean="0">
                <a:latin typeface="Arial" panose="020B0604020202020204" pitchFamily="34" charset="0"/>
              </a:rPr>
              <a:t>→  </a:t>
            </a:r>
            <a:r>
              <a:rPr lang="en-US" b="1" dirty="0" smtClean="0"/>
              <a:t>Do you spot any mistake?             </a:t>
            </a:r>
            <a:r>
              <a:rPr lang="en-US" dirty="0" smtClean="0"/>
              <a:t>A: Yes     B: No </a:t>
            </a:r>
            <a:endParaRPr lang="en-US" dirty="0"/>
          </a:p>
          <a:p>
            <a:endParaRPr lang="de-AT" dirty="0"/>
          </a:p>
          <a:p>
            <a:endParaRPr lang="de-AT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584" y="1916832"/>
            <a:ext cx="7132662" cy="426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82594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A </a:t>
            </a:r>
            <a:r>
              <a:rPr lang="de-AT" sz="2800" dirty="0" err="1" smtClean="0"/>
              <a:t>few</a:t>
            </a:r>
            <a:r>
              <a:rPr lang="de-AT" sz="2800" dirty="0" smtClean="0"/>
              <a:t> </a:t>
            </a:r>
            <a:r>
              <a:rPr lang="de-AT" sz="2800" dirty="0" err="1" smtClean="0"/>
              <a:t>questions</a:t>
            </a:r>
            <a:r>
              <a:rPr lang="de-AT" sz="2800" dirty="0" smtClean="0"/>
              <a:t> </a:t>
            </a:r>
            <a:r>
              <a:rPr lang="de-AT" sz="2800" dirty="0" err="1" smtClean="0"/>
              <a:t>for</a:t>
            </a:r>
            <a:r>
              <a:rPr lang="de-AT" sz="2800" dirty="0" smtClean="0"/>
              <a:t> </a:t>
            </a:r>
            <a:r>
              <a:rPr lang="de-AT" sz="2800" dirty="0" err="1" smtClean="0"/>
              <a:t>you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84636" cy="4525963"/>
          </a:xfrm>
        </p:spPr>
        <p:txBody>
          <a:bodyPr/>
          <a:lstStyle/>
          <a:p>
            <a:pPr marL="0" indent="0">
              <a:buNone/>
            </a:pPr>
            <a:r>
              <a:rPr lang="de-AT" b="1" dirty="0" smtClean="0">
                <a:latin typeface="Arial" panose="020B0604020202020204" pitchFamily="34" charset="0"/>
              </a:rPr>
              <a:t>→  </a:t>
            </a:r>
            <a:r>
              <a:rPr lang="de-AT" b="1" dirty="0" err="1" smtClean="0"/>
              <a:t>Is</a:t>
            </a:r>
            <a:r>
              <a:rPr lang="de-AT" b="1" dirty="0" smtClean="0"/>
              <a:t> </a:t>
            </a:r>
            <a:r>
              <a:rPr lang="de-AT" b="1" dirty="0"/>
              <a:t>5 </a:t>
            </a:r>
            <a:r>
              <a:rPr lang="de-AT" b="1" dirty="0" err="1"/>
              <a:t>the</a:t>
            </a:r>
            <a:r>
              <a:rPr lang="de-AT" b="1" dirty="0"/>
              <a:t> </a:t>
            </a:r>
            <a:r>
              <a:rPr lang="de-AT" b="1" dirty="0" err="1"/>
              <a:t>maximum</a:t>
            </a:r>
            <a:r>
              <a:rPr lang="de-AT" b="1" dirty="0"/>
              <a:t> </a:t>
            </a:r>
            <a:r>
              <a:rPr lang="de-AT" b="1" dirty="0" err="1"/>
              <a:t>number</a:t>
            </a:r>
            <a:r>
              <a:rPr lang="de-AT" b="1" dirty="0"/>
              <a:t> </a:t>
            </a:r>
            <a:r>
              <a:rPr lang="de-AT" b="1" dirty="0" err="1"/>
              <a:t>of</a:t>
            </a:r>
            <a:r>
              <a:rPr lang="de-AT" b="1" dirty="0"/>
              <a:t> </a:t>
            </a:r>
            <a:r>
              <a:rPr lang="de-AT" b="1" dirty="0" err="1"/>
              <a:t>activities</a:t>
            </a:r>
            <a:r>
              <a:rPr lang="de-AT" b="1" dirty="0"/>
              <a:t> in a </a:t>
            </a:r>
            <a:r>
              <a:rPr lang="de-AT" b="1" dirty="0" err="1" smtClean="0"/>
              <a:t>work</a:t>
            </a:r>
            <a:r>
              <a:rPr lang="de-AT" b="1" dirty="0" smtClean="0"/>
              <a:t> </a:t>
            </a:r>
            <a:r>
              <a:rPr lang="de-AT" b="1" dirty="0" err="1" smtClean="0"/>
              <a:t>package</a:t>
            </a:r>
            <a:r>
              <a:rPr lang="de-AT" b="1" dirty="0"/>
              <a:t>?</a:t>
            </a:r>
          </a:p>
          <a:p>
            <a:pPr marL="0" indent="0">
              <a:buNone/>
            </a:pPr>
            <a:endParaRPr lang="en-US" b="1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A:  Yes</a:t>
            </a:r>
            <a:endParaRPr lang="de-AT" dirty="0"/>
          </a:p>
          <a:p>
            <a:endParaRPr lang="de-AT" dirty="0"/>
          </a:p>
          <a:p>
            <a:pPr marL="0" indent="0">
              <a:buNone/>
            </a:pPr>
            <a:r>
              <a:rPr lang="de-AT" dirty="0" smtClean="0"/>
              <a:t>	B</a:t>
            </a:r>
            <a:r>
              <a:rPr lang="de-AT" dirty="0"/>
              <a:t>: </a:t>
            </a:r>
            <a:r>
              <a:rPr lang="de-AT" dirty="0" smtClean="0"/>
              <a:t> </a:t>
            </a:r>
            <a:r>
              <a:rPr lang="de-AT" dirty="0" err="1" smtClean="0"/>
              <a:t>No</a:t>
            </a:r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36210556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A </a:t>
            </a:r>
            <a:r>
              <a:rPr lang="de-AT" sz="2800" dirty="0" err="1" smtClean="0"/>
              <a:t>few</a:t>
            </a:r>
            <a:r>
              <a:rPr lang="de-AT" sz="2800" dirty="0" smtClean="0"/>
              <a:t> </a:t>
            </a:r>
            <a:r>
              <a:rPr lang="de-AT" sz="2800" dirty="0" err="1" smtClean="0"/>
              <a:t>questions</a:t>
            </a:r>
            <a:r>
              <a:rPr lang="de-AT" sz="2800" dirty="0" smtClean="0"/>
              <a:t> </a:t>
            </a:r>
            <a:r>
              <a:rPr lang="de-AT" sz="2800" dirty="0" err="1" smtClean="0"/>
              <a:t>for</a:t>
            </a:r>
            <a:r>
              <a:rPr lang="de-AT" sz="2800" dirty="0" smtClean="0"/>
              <a:t> </a:t>
            </a:r>
            <a:r>
              <a:rPr lang="de-AT" sz="2800" dirty="0" err="1" smtClean="0"/>
              <a:t>you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84636" cy="4525963"/>
          </a:xfrm>
        </p:spPr>
        <p:txBody>
          <a:bodyPr/>
          <a:lstStyle/>
          <a:p>
            <a:pPr marL="0" indent="0">
              <a:buNone/>
            </a:pPr>
            <a:r>
              <a:rPr lang="de-AT" b="1" dirty="0" smtClean="0">
                <a:latin typeface="Arial" panose="020B0604020202020204" pitchFamily="34" charset="0"/>
              </a:rPr>
              <a:t>→  </a:t>
            </a:r>
            <a:r>
              <a:rPr lang="en-US" b="1" dirty="0" smtClean="0"/>
              <a:t>Do you spot any mistake?           </a:t>
            </a:r>
            <a:r>
              <a:rPr lang="en-US" dirty="0" smtClean="0"/>
              <a:t>A: Yes     B: No </a:t>
            </a:r>
            <a:endParaRPr lang="en-US" dirty="0"/>
          </a:p>
          <a:p>
            <a:endParaRPr lang="de-AT" dirty="0"/>
          </a:p>
          <a:p>
            <a:endParaRPr lang="de-AT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8" y="1903930"/>
            <a:ext cx="8388000" cy="4189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906979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How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prepare</a:t>
            </a:r>
            <a:r>
              <a:rPr lang="de-DE" sz="2800" dirty="0"/>
              <a:t> a </a:t>
            </a:r>
            <a:r>
              <a:rPr lang="de-DE" sz="2800" dirty="0" err="1"/>
              <a:t>good</a:t>
            </a:r>
            <a:r>
              <a:rPr lang="de-DE" sz="2800" dirty="0"/>
              <a:t> </a:t>
            </a:r>
            <a:r>
              <a:rPr lang="de-DE" sz="2800" dirty="0" err="1"/>
              <a:t>application</a:t>
            </a:r>
            <a:r>
              <a:rPr lang="de-DE" sz="2800" dirty="0"/>
              <a:t> form?</a:t>
            </a:r>
            <a:endParaRPr lang="de-AT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08065" y="2235980"/>
            <a:ext cx="2414225" cy="2036240"/>
          </a:xfrm>
          <a:prstGeom prst="rect">
            <a:avLst/>
          </a:prstGeom>
        </p:spPr>
      </p:pic>
      <p:grpSp>
        <p:nvGrpSpPr>
          <p:cNvPr id="8" name="Gruppieren 7"/>
          <p:cNvGrpSpPr/>
          <p:nvPr/>
        </p:nvGrpSpPr>
        <p:grpSpPr>
          <a:xfrm>
            <a:off x="4727230" y="3079200"/>
            <a:ext cx="451539" cy="349800"/>
            <a:chOff x="1620262" y="549813"/>
            <a:chExt cx="451539" cy="349800"/>
          </a:xfrm>
        </p:grpSpPr>
        <p:sp>
          <p:nvSpPr>
            <p:cNvPr id="9" name="Pfeil nach rechts 8"/>
            <p:cNvSpPr/>
            <p:nvPr/>
          </p:nvSpPr>
          <p:spPr>
            <a:xfrm>
              <a:off x="1620262" y="549813"/>
              <a:ext cx="451539" cy="3498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0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0" name="Pfeil nach rechts 4"/>
            <p:cNvSpPr txBox="1"/>
            <p:nvPr/>
          </p:nvSpPr>
          <p:spPr>
            <a:xfrm>
              <a:off x="1620262" y="619773"/>
              <a:ext cx="346599" cy="2098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900" kern="1200" noProof="0" dirty="0">
                <a:solidFill>
                  <a:sysClr val="window" lastClr="FFFFFF"/>
                </a:solidFill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5457056" y="2492896"/>
            <a:ext cx="3096344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600" dirty="0" smtClean="0"/>
              <a:t>Logical </a:t>
            </a:r>
            <a:r>
              <a:rPr lang="de-DE" sz="2600" dirty="0" err="1" smtClean="0"/>
              <a:t>and</a:t>
            </a:r>
            <a:r>
              <a:rPr lang="de-DE" sz="2600" dirty="0" smtClean="0"/>
              <a:t> </a:t>
            </a:r>
            <a:r>
              <a:rPr lang="de-DE" sz="2600" dirty="0" err="1" smtClean="0"/>
              <a:t>chronological</a:t>
            </a:r>
            <a:r>
              <a:rPr lang="de-DE" sz="2600" dirty="0" smtClean="0"/>
              <a:t> </a:t>
            </a:r>
            <a:r>
              <a:rPr lang="de-DE" sz="2600" dirty="0" err="1" smtClean="0"/>
              <a:t>structure</a:t>
            </a:r>
            <a:r>
              <a:rPr lang="de-DE" sz="2600" dirty="0" smtClean="0"/>
              <a:t> </a:t>
            </a:r>
            <a:r>
              <a:rPr lang="de-DE" sz="2600" dirty="0" err="1" smtClean="0"/>
              <a:t>of</a:t>
            </a:r>
            <a:r>
              <a:rPr lang="de-DE" sz="2600" dirty="0" smtClean="0"/>
              <a:t> </a:t>
            </a:r>
            <a:r>
              <a:rPr lang="de-DE" sz="2600" dirty="0" err="1" smtClean="0"/>
              <a:t>your</a:t>
            </a:r>
            <a:r>
              <a:rPr lang="de-DE" sz="2600" dirty="0" smtClean="0"/>
              <a:t> </a:t>
            </a:r>
            <a:r>
              <a:rPr lang="de-DE" sz="2600" dirty="0" err="1" smtClean="0"/>
              <a:t>project</a:t>
            </a:r>
            <a:endParaRPr lang="it-IT" sz="2600" dirty="0"/>
          </a:p>
        </p:txBody>
      </p:sp>
    </p:spTree>
    <p:extLst>
      <p:ext uri="{BB962C8B-B14F-4D97-AF65-F5344CB8AC3E}">
        <p14:creationId xmlns:p14="http://schemas.microsoft.com/office/powerpoint/2010/main" val="1487892179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0"/>
            <a:ext cx="8712628" cy="4007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>
              <a:buNone/>
            </a:pPr>
            <a:r>
              <a:rPr lang="de-DE" sz="2400" dirty="0" smtClean="0">
                <a:solidFill>
                  <a:srgbClr val="538257"/>
                </a:solidFill>
              </a:rPr>
              <a:t>PARTNERSHIP</a:t>
            </a:r>
            <a:endParaRPr lang="de-DE" sz="2400" dirty="0">
              <a:solidFill>
                <a:srgbClr val="538257"/>
              </a:solidFill>
            </a:endParaRPr>
          </a:p>
          <a:p>
            <a:pPr marL="0" indent="0">
              <a:buNone/>
            </a:pPr>
            <a:endParaRPr lang="de-DE" dirty="0" smtClean="0">
              <a:solidFill>
                <a:schemeClr val="accent1"/>
              </a:solidFill>
            </a:endParaRP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smtClean="0"/>
              <a:t>Experience / </a:t>
            </a:r>
            <a:r>
              <a:rPr lang="de-DE" dirty="0" err="1" smtClean="0"/>
              <a:t>competence</a:t>
            </a:r>
            <a:r>
              <a:rPr lang="de-DE" dirty="0" smtClean="0"/>
              <a:t> </a:t>
            </a:r>
            <a:r>
              <a:rPr lang="de-DE" dirty="0"/>
              <a:t>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 smtClean="0"/>
              <a:t>field</a:t>
            </a:r>
            <a:r>
              <a:rPr lang="de-DE" dirty="0" smtClean="0"/>
              <a:t> </a:t>
            </a:r>
            <a:r>
              <a:rPr lang="de-DE" dirty="0" err="1" smtClean="0"/>
              <a:t>addressed</a:t>
            </a:r>
            <a:endParaRPr lang="de-DE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 smtClean="0"/>
              <a:t>Defined</a:t>
            </a:r>
            <a:r>
              <a:rPr lang="de-DE" dirty="0" smtClean="0"/>
              <a:t> </a:t>
            </a:r>
            <a:r>
              <a:rPr lang="de-DE" dirty="0" err="1" smtClean="0"/>
              <a:t>role</a:t>
            </a:r>
            <a:r>
              <a:rPr lang="de-DE" dirty="0" smtClean="0"/>
              <a:t> and </a:t>
            </a:r>
            <a:r>
              <a:rPr lang="de-DE" dirty="0" err="1" smtClean="0"/>
              <a:t>added-valu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smtClean="0"/>
              <a:t>PP</a:t>
            </a: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 smtClean="0"/>
              <a:t>Reach</a:t>
            </a:r>
            <a:r>
              <a:rPr lang="de-DE" dirty="0" smtClean="0"/>
              <a:t>-ou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 smtClean="0"/>
              <a:t>groups</a:t>
            </a:r>
            <a:r>
              <a:rPr lang="de-DE" dirty="0" smtClean="0"/>
              <a:t> / </a:t>
            </a:r>
            <a:r>
              <a:rPr lang="de-DE" dirty="0" err="1" smtClean="0"/>
              <a:t>stakeholders</a:t>
            </a:r>
            <a:endParaRPr lang="de-DE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 smtClean="0"/>
              <a:t>Policy</a:t>
            </a:r>
            <a:r>
              <a:rPr lang="de-DE" dirty="0" smtClean="0"/>
              <a:t> </a:t>
            </a:r>
            <a:r>
              <a:rPr lang="de-DE" dirty="0" err="1" smtClean="0"/>
              <a:t>role</a:t>
            </a:r>
            <a:r>
              <a:rPr lang="de-DE" dirty="0" smtClean="0"/>
              <a:t> / </a:t>
            </a:r>
            <a:r>
              <a:rPr lang="de-DE" dirty="0" err="1" smtClean="0"/>
              <a:t>capacit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mpact</a:t>
            </a:r>
            <a:r>
              <a:rPr lang="de-DE" dirty="0" smtClean="0"/>
              <a:t> on </a:t>
            </a:r>
            <a:r>
              <a:rPr lang="de-DE" dirty="0" err="1" smtClean="0"/>
              <a:t>policy</a:t>
            </a:r>
            <a:r>
              <a:rPr lang="de-DE" dirty="0" smtClean="0"/>
              <a:t> </a:t>
            </a:r>
            <a:r>
              <a:rPr lang="de-DE" dirty="0" err="1" smtClean="0"/>
              <a:t>making</a:t>
            </a:r>
            <a:endParaRPr lang="de-DE" dirty="0"/>
          </a:p>
          <a:p>
            <a:pPr marL="0" indent="0">
              <a:buNone/>
            </a:pPr>
            <a:endParaRPr lang="en-US" u="sng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u="sng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u="sng" dirty="0" smtClean="0">
                <a:solidFill>
                  <a:schemeClr val="accent4">
                    <a:lumMod val="75000"/>
                  </a:schemeClr>
                </a:solidFill>
              </a:rPr>
              <a:t>Recommendation:</a:t>
            </a:r>
          </a:p>
          <a:p>
            <a:pPr marL="0" indent="0">
              <a:buNone/>
            </a:pPr>
            <a:endParaRPr lang="en-US" sz="400" u="sng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400050" lvl="1" indent="0">
              <a:buNone/>
            </a:pPr>
            <a:r>
              <a:rPr lang="de-DE" dirty="0" smtClean="0">
                <a:latin typeface="Arial" panose="020B0604020202020204" pitchFamily="34" charset="0"/>
              </a:rPr>
              <a:t>→  </a:t>
            </a:r>
            <a:r>
              <a:rPr lang="de-DE" dirty="0" err="1" smtClean="0">
                <a:latin typeface="Arial" panose="020B0604020202020204" pitchFamily="34" charset="0"/>
              </a:rPr>
              <a:t>i</a:t>
            </a:r>
            <a:r>
              <a:rPr lang="de-DE" dirty="0" err="1" smtClean="0"/>
              <a:t>nvolvement</a:t>
            </a:r>
            <a:r>
              <a:rPr lang="de-DE" dirty="0" smtClean="0"/>
              <a:t> and </a:t>
            </a:r>
            <a:r>
              <a:rPr lang="de-DE" dirty="0" err="1" smtClean="0"/>
              <a:t>main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ctiviti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learly</a:t>
            </a:r>
            <a:r>
              <a:rPr lang="de-DE" dirty="0" smtClean="0"/>
              <a:t> </a:t>
            </a:r>
            <a:r>
              <a:rPr lang="de-DE" dirty="0" err="1" smtClean="0"/>
              <a:t>mentioned</a:t>
            </a:r>
            <a:endParaRPr lang="de-DE" dirty="0" smtClean="0"/>
          </a:p>
          <a:p>
            <a:pPr marL="400050" lvl="1" indent="0">
              <a:buNone/>
            </a:pPr>
            <a:r>
              <a:rPr lang="de-DE" dirty="0" smtClean="0">
                <a:latin typeface="Arial" panose="020B0604020202020204" pitchFamily="34" charset="0"/>
              </a:rPr>
              <a:t>→  </a:t>
            </a:r>
            <a:r>
              <a:rPr lang="de-DE" dirty="0"/>
              <a:t>PP </a:t>
            </a:r>
            <a:r>
              <a:rPr lang="de-DE" dirty="0" err="1"/>
              <a:t>budget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roportionat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rol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4457276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0"/>
            <a:ext cx="8712628" cy="513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CONTRIBUTIONS </a:t>
            </a:r>
            <a:r>
              <a:rPr lang="de-DE" sz="2400" dirty="0">
                <a:solidFill>
                  <a:schemeClr val="accent1"/>
                </a:solidFill>
              </a:rPr>
              <a:t>AND SYNERGIES</a:t>
            </a:r>
            <a:r>
              <a:rPr lang="de-DE" dirty="0"/>
              <a:t> </a:t>
            </a:r>
          </a:p>
          <a:p>
            <a:endParaRPr lang="de-DE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/>
              <a:t>Contribu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USALP, </a:t>
            </a:r>
            <a:r>
              <a:rPr lang="de-DE" dirty="0" smtClean="0"/>
              <a:t>EU Green </a:t>
            </a:r>
            <a:r>
              <a:rPr lang="de-DE" dirty="0"/>
              <a:t>Deal, TA 2030, </a:t>
            </a:r>
            <a:r>
              <a:rPr lang="de-DE" dirty="0" err="1" smtClean="0"/>
              <a:t>other</a:t>
            </a:r>
            <a:r>
              <a:rPr lang="de-DE" dirty="0" smtClean="0"/>
              <a:t> relevant </a:t>
            </a:r>
            <a:r>
              <a:rPr lang="de-DE" dirty="0" err="1" smtClean="0"/>
              <a:t>strategies</a:t>
            </a:r>
            <a:endParaRPr lang="de-DE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/>
              <a:t>Synergi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project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initiatives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spcAft>
                <a:spcPts val="1200"/>
              </a:spcAft>
              <a:buNone/>
            </a:pPr>
            <a:r>
              <a:rPr lang="en-US" u="sng" dirty="0">
                <a:solidFill>
                  <a:schemeClr val="accent4">
                    <a:lumMod val="75000"/>
                  </a:schemeClr>
                </a:solidFill>
              </a:rPr>
              <a:t>Recommendations:</a:t>
            </a:r>
          </a:p>
          <a:p>
            <a:pPr marL="400050" lvl="1" indent="0">
              <a:spcAft>
                <a:spcPts val="600"/>
              </a:spcAft>
              <a:buNone/>
            </a:pPr>
            <a:r>
              <a:rPr lang="en-US" dirty="0" smtClean="0">
                <a:latin typeface="Arial" panose="020B0604020202020204" pitchFamily="34" charset="0"/>
              </a:rPr>
              <a:t>→ </a:t>
            </a:r>
            <a:r>
              <a:rPr lang="en-US" dirty="0" smtClean="0"/>
              <a:t> </a:t>
            </a:r>
            <a:r>
              <a:rPr lang="en-US" dirty="0"/>
              <a:t>g</a:t>
            </a:r>
            <a:r>
              <a:rPr lang="en-US" dirty="0" smtClean="0"/>
              <a:t>et to know EUSALP action plan and actors</a:t>
            </a:r>
          </a:p>
          <a:p>
            <a:pPr marL="400050" lvl="1" indent="0">
              <a:spcAft>
                <a:spcPts val="600"/>
              </a:spcAft>
              <a:buNone/>
            </a:pPr>
            <a:r>
              <a:rPr lang="en-US" dirty="0">
                <a:latin typeface="Arial" panose="020B0604020202020204" pitchFamily="34" charset="0"/>
              </a:rPr>
              <a:t>→ </a:t>
            </a:r>
            <a:r>
              <a:rPr lang="en-US" dirty="0" smtClean="0">
                <a:latin typeface="Arial" panose="020B0604020202020204" pitchFamily="34" charset="0"/>
              </a:rPr>
              <a:t> b</a:t>
            </a:r>
            <a:r>
              <a:rPr lang="en-US" dirty="0" smtClean="0"/>
              <a:t>e precise and specific for </a:t>
            </a:r>
            <a:r>
              <a:rPr lang="en-US" dirty="0"/>
              <a:t>the contribution you can do to </a:t>
            </a:r>
            <a:r>
              <a:rPr lang="en-US" dirty="0" smtClean="0"/>
              <a:t>strategies</a:t>
            </a:r>
          </a:p>
          <a:p>
            <a:pPr marL="400050" lvl="1" indent="0">
              <a:spcAft>
                <a:spcPts val="600"/>
              </a:spcAft>
              <a:buNone/>
            </a:pPr>
            <a:r>
              <a:rPr lang="en-US" dirty="0">
                <a:latin typeface="Arial" panose="020B0604020202020204" pitchFamily="34" charset="0"/>
              </a:rPr>
              <a:t>→ </a:t>
            </a:r>
            <a:r>
              <a:rPr lang="en-US" dirty="0" smtClean="0"/>
              <a:t> concrete synergies reflected </a:t>
            </a:r>
            <a:r>
              <a:rPr lang="en-US" dirty="0"/>
              <a:t>in the work plan</a:t>
            </a:r>
          </a:p>
          <a:p>
            <a:pPr marL="400050" lvl="1" indent="0">
              <a:spcAft>
                <a:spcPts val="600"/>
              </a:spcAft>
              <a:buNone/>
            </a:pPr>
            <a:r>
              <a:rPr lang="en-US" dirty="0">
                <a:latin typeface="Arial" panose="020B0604020202020204" pitchFamily="34" charset="0"/>
              </a:rPr>
              <a:t>→ </a:t>
            </a:r>
            <a:r>
              <a:rPr lang="en-US" dirty="0" smtClean="0">
                <a:latin typeface="Arial" panose="020B0604020202020204" pitchFamily="34" charset="0"/>
              </a:rPr>
              <a:t> e</a:t>
            </a:r>
            <a:r>
              <a:rPr lang="en-US" dirty="0" smtClean="0"/>
              <a:t>xplain </a:t>
            </a:r>
            <a:r>
              <a:rPr lang="en-US" dirty="0"/>
              <a:t>clearly your added-value to </a:t>
            </a:r>
            <a:r>
              <a:rPr lang="en-US" dirty="0" smtClean="0"/>
              <a:t>the existing</a:t>
            </a:r>
            <a:endParaRPr lang="de-AT" dirty="0" smtClean="0"/>
          </a:p>
          <a:p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94294966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0"/>
            <a:ext cx="8712628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WORK </a:t>
            </a:r>
            <a:r>
              <a:rPr lang="de-DE" sz="2400" dirty="0">
                <a:solidFill>
                  <a:schemeClr val="accent1"/>
                </a:solidFill>
              </a:rPr>
              <a:t>PLAN</a:t>
            </a:r>
            <a:endParaRPr lang="de-DE" dirty="0"/>
          </a:p>
          <a:p>
            <a:endParaRPr lang="de-DE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 smtClean="0"/>
              <a:t>specific</a:t>
            </a:r>
            <a:r>
              <a:rPr lang="de-DE" b="1" dirty="0" smtClean="0"/>
              <a:t> </a:t>
            </a:r>
            <a:r>
              <a:rPr lang="de-DE" b="1" dirty="0" err="1" smtClean="0"/>
              <a:t>objective</a:t>
            </a:r>
            <a:r>
              <a:rPr lang="de-DE" dirty="0" smtClean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package</a:t>
            </a:r>
            <a:r>
              <a:rPr lang="de-DE" dirty="0"/>
              <a:t>?</a:t>
            </a: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b="1" dirty="0" err="1"/>
              <a:t>link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packages</a:t>
            </a:r>
            <a:r>
              <a:rPr lang="de-DE" dirty="0" smtClean="0"/>
              <a:t>?</a:t>
            </a: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de-DE" dirty="0" smtClean="0"/>
              <a:t>Clear </a:t>
            </a:r>
            <a:r>
              <a:rPr lang="de-DE" dirty="0" err="1" smtClean="0"/>
              <a:t>structure</a:t>
            </a:r>
            <a:r>
              <a:rPr lang="de-DE" dirty="0" smtClean="0"/>
              <a:t> and </a:t>
            </a:r>
            <a:r>
              <a:rPr lang="de-DE" b="1" dirty="0" err="1" smtClean="0"/>
              <a:t>coherence</a:t>
            </a:r>
            <a:r>
              <a:rPr lang="de-DE" dirty="0" smtClean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matic</a:t>
            </a:r>
            <a:r>
              <a:rPr lang="de-DE" dirty="0"/>
              <a:t> </a:t>
            </a:r>
            <a:r>
              <a:rPr lang="de-DE" dirty="0" err="1"/>
              <a:t>activitie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spcAft>
                <a:spcPts val="1200"/>
              </a:spcAft>
              <a:buNone/>
            </a:pPr>
            <a:r>
              <a:rPr lang="en-US" u="sng" dirty="0" smtClean="0">
                <a:solidFill>
                  <a:schemeClr val="accent4">
                    <a:lumMod val="75000"/>
                  </a:schemeClr>
                </a:solidFill>
              </a:rPr>
              <a:t>Recommendations (1):</a:t>
            </a:r>
            <a:endParaRPr lang="en-US" u="sng" dirty="0">
              <a:solidFill>
                <a:schemeClr val="accent4">
                  <a:lumMod val="75000"/>
                </a:schemeClr>
              </a:solidFill>
            </a:endParaRPr>
          </a:p>
          <a:p>
            <a:pPr marL="400050" lvl="1" indent="0">
              <a:spcAft>
                <a:spcPts val="600"/>
              </a:spcAft>
              <a:buNone/>
            </a:pPr>
            <a:r>
              <a:rPr lang="en-US" dirty="0">
                <a:latin typeface="Arial" panose="020B0604020202020204" pitchFamily="34" charset="0"/>
              </a:rPr>
              <a:t>→ </a:t>
            </a:r>
            <a:r>
              <a:rPr lang="en-US" dirty="0"/>
              <a:t> </a:t>
            </a:r>
            <a:r>
              <a:rPr lang="en-US" dirty="0" smtClean="0"/>
              <a:t>t</a:t>
            </a:r>
            <a:r>
              <a:rPr lang="de-DE" dirty="0" err="1" smtClean="0"/>
              <a:t>ransnational</a:t>
            </a:r>
            <a:r>
              <a:rPr lang="de-DE" dirty="0" smtClean="0"/>
              <a:t> </a:t>
            </a:r>
            <a:r>
              <a:rPr lang="de-DE" dirty="0" err="1" smtClean="0"/>
              <a:t>purpose</a:t>
            </a:r>
            <a:r>
              <a:rPr lang="de-DE" dirty="0" smtClean="0"/>
              <a:t> = </a:t>
            </a:r>
            <a:r>
              <a:rPr lang="de-DE" dirty="0" err="1" smtClean="0"/>
              <a:t>guiding</a:t>
            </a:r>
            <a:r>
              <a:rPr lang="de-DE" dirty="0" smtClean="0"/>
              <a:t> </a:t>
            </a:r>
            <a:r>
              <a:rPr lang="de-DE" dirty="0" err="1" smtClean="0"/>
              <a:t>principle</a:t>
            </a:r>
            <a:endParaRPr lang="en-US" dirty="0"/>
          </a:p>
          <a:p>
            <a:pPr marL="400050" lvl="1" indent="0">
              <a:spcAft>
                <a:spcPts val="600"/>
              </a:spcAft>
              <a:buNone/>
            </a:pPr>
            <a:r>
              <a:rPr lang="en-US" dirty="0">
                <a:latin typeface="Arial" panose="020B0604020202020204" pitchFamily="34" charset="0"/>
              </a:rPr>
              <a:t>→  </a:t>
            </a:r>
            <a:r>
              <a:rPr lang="en-US" dirty="0" smtClean="0">
                <a:latin typeface="Arial" panose="020B0604020202020204" pitchFamily="34" charset="0"/>
              </a:rPr>
              <a:t>l</a:t>
            </a:r>
            <a:r>
              <a:rPr lang="en-US" dirty="0" smtClean="0"/>
              <a:t>imited number </a:t>
            </a:r>
            <a:r>
              <a:rPr lang="en-US" dirty="0"/>
              <a:t>of deliverables and </a:t>
            </a:r>
            <a:r>
              <a:rPr lang="en-US" dirty="0" smtClean="0"/>
              <a:t>outputs: </a:t>
            </a:r>
            <a:r>
              <a:rPr lang="en-US" u="sng" dirty="0" smtClean="0">
                <a:solidFill>
                  <a:srgbClr val="00B050"/>
                </a:solidFill>
              </a:rPr>
              <a:t>quality</a:t>
            </a:r>
            <a:r>
              <a:rPr lang="en-US" dirty="0" smtClean="0"/>
              <a:t> vs. quantity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2493871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0"/>
            <a:ext cx="8928652" cy="311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WORK </a:t>
            </a:r>
            <a:r>
              <a:rPr lang="de-DE" sz="2400" dirty="0">
                <a:solidFill>
                  <a:schemeClr val="accent1"/>
                </a:solidFill>
              </a:rPr>
              <a:t>PLAN</a:t>
            </a:r>
            <a:endParaRPr lang="de-DE" sz="2400" dirty="0"/>
          </a:p>
          <a:p>
            <a:endParaRPr lang="de-DE" sz="2400" dirty="0"/>
          </a:p>
          <a:p>
            <a:pPr marL="0" indent="0">
              <a:spcAft>
                <a:spcPts val="1200"/>
              </a:spcAft>
              <a:buNone/>
            </a:pPr>
            <a:r>
              <a:rPr lang="en-US" u="sng" dirty="0">
                <a:solidFill>
                  <a:schemeClr val="accent4">
                    <a:lumMod val="75000"/>
                  </a:schemeClr>
                </a:solidFill>
              </a:rPr>
              <a:t>Recommendations (2):</a:t>
            </a:r>
          </a:p>
          <a:p>
            <a:pPr marL="400050" lvl="1" indent="0">
              <a:buNone/>
            </a:pPr>
            <a:r>
              <a:rPr lang="de-DE" dirty="0" smtClean="0">
                <a:latin typeface="Arial" panose="020B0604020202020204" pitchFamily="34" charset="0"/>
              </a:rPr>
              <a:t>→  a</a:t>
            </a:r>
            <a:r>
              <a:rPr lang="de-DE" dirty="0" smtClean="0"/>
              <a:t> WP </a:t>
            </a:r>
            <a:r>
              <a:rPr lang="de-DE" dirty="0" err="1" smtClean="0"/>
              <a:t>does</a:t>
            </a:r>
            <a:r>
              <a:rPr lang="de-DE" dirty="0" smtClean="0"/>
              <a:t> </a:t>
            </a:r>
            <a:r>
              <a:rPr lang="de-DE" dirty="0"/>
              <a:t>not </a:t>
            </a:r>
            <a:r>
              <a:rPr lang="de-DE" dirty="0" err="1"/>
              <a:t>necessarily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n </a:t>
            </a:r>
            <a:r>
              <a:rPr lang="de-DE" dirty="0" err="1" smtClean="0"/>
              <a:t>output</a:t>
            </a:r>
            <a:endParaRPr lang="de-DE" dirty="0" smtClean="0"/>
          </a:p>
          <a:p>
            <a:pPr marL="400050" lvl="1" indent="0">
              <a:buNone/>
            </a:pPr>
            <a:r>
              <a:rPr lang="de-DE" dirty="0" smtClean="0">
                <a:latin typeface="Arial" panose="020B0604020202020204" pitchFamily="34" charset="0"/>
              </a:rPr>
              <a:t>→  </a:t>
            </a:r>
            <a:r>
              <a:rPr lang="de-DE" dirty="0" err="1" smtClean="0"/>
              <a:t>create</a:t>
            </a:r>
            <a:r>
              <a:rPr lang="de-DE" dirty="0" smtClean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smtClean="0"/>
              <a:t>WP</a:t>
            </a:r>
            <a:endParaRPr lang="de-DE" dirty="0"/>
          </a:p>
          <a:p>
            <a:pPr marL="400050" lvl="1" indent="0">
              <a:spcAft>
                <a:spcPts val="600"/>
              </a:spcAft>
              <a:buNone/>
            </a:pPr>
            <a:r>
              <a:rPr lang="de-DE" dirty="0" smtClean="0">
                <a:latin typeface="Arial" panose="020B0604020202020204" pitchFamily="34" charset="0"/>
              </a:rPr>
              <a:t>→  </a:t>
            </a:r>
            <a:r>
              <a:rPr lang="de-DE" dirty="0" smtClean="0">
                <a:solidFill>
                  <a:srgbClr val="3F3E3E"/>
                </a:solidFill>
              </a:rPr>
              <a:t>check </a:t>
            </a:r>
            <a:r>
              <a:rPr lang="de-DE" dirty="0" err="1">
                <a:solidFill>
                  <a:srgbClr val="3F3E3E"/>
                </a:solidFill>
              </a:rPr>
              <a:t>the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coherence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of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the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 smtClean="0">
                <a:solidFill>
                  <a:srgbClr val="3F3E3E"/>
                </a:solidFill>
              </a:rPr>
              <a:t>timeline</a:t>
            </a:r>
            <a:r>
              <a:rPr lang="de-DE" dirty="0" smtClean="0">
                <a:solidFill>
                  <a:srgbClr val="3F3E3E"/>
                </a:solidFill>
              </a:rPr>
              <a:t> </a:t>
            </a:r>
            <a:r>
              <a:rPr lang="de-DE" dirty="0" err="1" smtClean="0">
                <a:solidFill>
                  <a:srgbClr val="3F3E3E"/>
                </a:solidFill>
              </a:rPr>
              <a:t>between</a:t>
            </a:r>
            <a:r>
              <a:rPr lang="de-DE" dirty="0" smtClean="0">
                <a:solidFill>
                  <a:srgbClr val="3F3E3E"/>
                </a:solidFill>
              </a:rPr>
              <a:t> </a:t>
            </a:r>
            <a:r>
              <a:rPr lang="de-DE" dirty="0">
                <a:solidFill>
                  <a:srgbClr val="3F3E3E"/>
                </a:solidFill>
              </a:rPr>
              <a:t>WP, </a:t>
            </a:r>
            <a:r>
              <a:rPr lang="de-DE" dirty="0" err="1">
                <a:solidFill>
                  <a:srgbClr val="3F3E3E"/>
                </a:solidFill>
              </a:rPr>
              <a:t>activities</a:t>
            </a:r>
            <a:r>
              <a:rPr lang="de-DE" dirty="0">
                <a:solidFill>
                  <a:srgbClr val="3F3E3E"/>
                </a:solidFill>
              </a:rPr>
              <a:t>, and </a:t>
            </a:r>
            <a:r>
              <a:rPr lang="de-DE" dirty="0" err="1">
                <a:solidFill>
                  <a:srgbClr val="3F3E3E"/>
                </a:solidFill>
              </a:rPr>
              <a:t>the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 smtClean="0">
                <a:solidFill>
                  <a:srgbClr val="3F3E3E"/>
                </a:solidFill>
              </a:rPr>
              <a:t>delivery</a:t>
            </a:r>
            <a:r>
              <a:rPr lang="de-DE" dirty="0" smtClean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of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outputs</a:t>
            </a:r>
            <a:r>
              <a:rPr lang="de-DE" dirty="0">
                <a:solidFill>
                  <a:srgbClr val="3F3E3E"/>
                </a:solidFill>
              </a:rPr>
              <a:t> and </a:t>
            </a:r>
            <a:r>
              <a:rPr lang="de-DE" dirty="0" err="1">
                <a:solidFill>
                  <a:srgbClr val="3F3E3E"/>
                </a:solidFill>
              </a:rPr>
              <a:t>deliverables</a:t>
            </a:r>
            <a:endParaRPr lang="de-DE" dirty="0">
              <a:solidFill>
                <a:srgbClr val="3F3E3E"/>
              </a:solidFill>
            </a:endParaRPr>
          </a:p>
          <a:p>
            <a:pPr marL="400050" lvl="1" indent="0">
              <a:buNone/>
            </a:pPr>
            <a:r>
              <a:rPr lang="de-DE" dirty="0" smtClean="0">
                <a:latin typeface="Arial" panose="020B0604020202020204" pitchFamily="34" charset="0"/>
              </a:rPr>
              <a:t>→  </a:t>
            </a:r>
            <a:r>
              <a:rPr lang="de-DE" dirty="0" smtClean="0">
                <a:solidFill>
                  <a:srgbClr val="3F3E3E"/>
                </a:solidFill>
              </a:rPr>
              <a:t>plan </a:t>
            </a:r>
            <a:r>
              <a:rPr lang="de-DE" dirty="0" err="1">
                <a:solidFill>
                  <a:srgbClr val="3F3E3E"/>
                </a:solidFill>
              </a:rPr>
              <a:t>the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delivery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of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outputs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>
                <a:solidFill>
                  <a:srgbClr val="3F3E3E"/>
                </a:solidFill>
              </a:rPr>
              <a:t>early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err="1" smtClean="0">
                <a:solidFill>
                  <a:srgbClr val="3F3E3E"/>
                </a:solidFill>
              </a:rPr>
              <a:t>enough</a:t>
            </a:r>
            <a:r>
              <a:rPr lang="de-DE" dirty="0">
                <a:solidFill>
                  <a:srgbClr val="3F3E3E"/>
                </a:solidFill>
              </a:rPr>
              <a:t> </a:t>
            </a:r>
            <a:r>
              <a:rPr lang="de-DE" dirty="0" smtClean="0">
                <a:solidFill>
                  <a:srgbClr val="3F3E3E"/>
                </a:solidFill>
              </a:rPr>
              <a:t>(</a:t>
            </a:r>
            <a:r>
              <a:rPr lang="de-DE" dirty="0" err="1" smtClean="0">
                <a:solidFill>
                  <a:srgbClr val="3F3E3E"/>
                </a:solidFill>
              </a:rPr>
              <a:t>dissemination</a:t>
            </a:r>
            <a:r>
              <a:rPr lang="de-DE" dirty="0" smtClean="0">
                <a:solidFill>
                  <a:srgbClr val="3F3E3E"/>
                </a:solidFill>
              </a:rPr>
              <a:t>/</a:t>
            </a:r>
            <a:r>
              <a:rPr lang="de-DE" dirty="0" err="1" smtClean="0">
                <a:solidFill>
                  <a:srgbClr val="3F3E3E"/>
                </a:solidFill>
              </a:rPr>
              <a:t>transferability</a:t>
            </a:r>
            <a:r>
              <a:rPr lang="de-DE" dirty="0" smtClean="0">
                <a:solidFill>
                  <a:srgbClr val="3F3E3E"/>
                </a:solidFill>
              </a:rPr>
              <a:t>)</a:t>
            </a:r>
            <a:endParaRPr lang="de-AT" sz="1600" dirty="0"/>
          </a:p>
        </p:txBody>
      </p:sp>
    </p:spTree>
    <p:extLst>
      <p:ext uri="{BB962C8B-B14F-4D97-AF65-F5344CB8AC3E}">
        <p14:creationId xmlns:p14="http://schemas.microsoft.com/office/powerpoint/2010/main" val="327613215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20" name="Grafik 19" descr="C:\Users\sbg04882\AppData\Local\Microsoft\Windows\INetCache\Content.Outlook\AKH3I1T9\territorialchange_v3 (002)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2682" r="1034" b="46449"/>
          <a:stretch/>
        </p:blipFill>
        <p:spPr bwMode="auto">
          <a:xfrm>
            <a:off x="1424608" y="1340768"/>
            <a:ext cx="6181306" cy="4896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Abgerundetes Rechteck 2"/>
          <p:cNvSpPr/>
          <p:nvPr/>
        </p:nvSpPr>
        <p:spPr>
          <a:xfrm>
            <a:off x="1352600" y="2708920"/>
            <a:ext cx="720080" cy="2880320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3207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1"/>
            <a:ext cx="8928652" cy="3490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TARGET </a:t>
            </a:r>
            <a:r>
              <a:rPr lang="de-DE" sz="2400" dirty="0">
                <a:solidFill>
                  <a:schemeClr val="accent1"/>
                </a:solidFill>
              </a:rPr>
              <a:t>GROUPS</a:t>
            </a:r>
          </a:p>
          <a:p>
            <a:pPr marL="0" indent="0">
              <a:buNone/>
            </a:pPr>
            <a:endParaRPr lang="de-DE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de-DE" dirty="0"/>
              <a:t>Relevan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b="1" dirty="0" err="1"/>
              <a:t>intervention</a:t>
            </a:r>
            <a:r>
              <a:rPr lang="de-DE" b="1" dirty="0"/>
              <a:t> </a:t>
            </a:r>
            <a:r>
              <a:rPr lang="de-DE" b="1" dirty="0" err="1"/>
              <a:t>logic</a:t>
            </a:r>
            <a:r>
              <a:rPr lang="de-DE" dirty="0"/>
              <a:t> </a:t>
            </a:r>
            <a:r>
              <a:rPr lang="de-DE" dirty="0" smtClean="0"/>
              <a:t>a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/>
              <a:t>communication</a:t>
            </a:r>
            <a:r>
              <a:rPr lang="de-DE" b="1" dirty="0"/>
              <a:t> </a:t>
            </a:r>
            <a:r>
              <a:rPr lang="de-DE" b="1" dirty="0" err="1"/>
              <a:t>approach</a:t>
            </a:r>
            <a:endParaRPr lang="de-DE" b="1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de-DE" b="1" dirty="0" err="1" smtClean="0"/>
              <a:t>Concrete</a:t>
            </a:r>
            <a:r>
              <a:rPr lang="de-DE" b="1" dirty="0" smtClean="0"/>
              <a:t> </a:t>
            </a:r>
            <a:r>
              <a:rPr lang="de-DE" b="1" dirty="0" err="1"/>
              <a:t>measu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volve</a:t>
            </a:r>
            <a:r>
              <a:rPr lang="de-DE" dirty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 </a:t>
            </a:r>
            <a:r>
              <a:rPr lang="en-GB" dirty="0" smtClean="0"/>
              <a:t>during </a:t>
            </a:r>
            <a:r>
              <a:rPr lang="en-GB" dirty="0"/>
              <a:t>project implementation and in the phase of output development (consulting loops etc.)</a:t>
            </a:r>
            <a:endParaRPr lang="de-DE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de-DE" dirty="0"/>
              <a:t>Focus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/>
              <a:t>main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group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pecify</a:t>
            </a:r>
            <a:r>
              <a:rPr lang="de-DE" dirty="0"/>
              <a:t> </a:t>
            </a:r>
            <a:r>
              <a:rPr lang="de-DE" dirty="0" err="1"/>
              <a:t>them</a:t>
            </a:r>
            <a:endParaRPr lang="de-DE" dirty="0"/>
          </a:p>
          <a:p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6972543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1"/>
            <a:ext cx="8136564" cy="2936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DURABILITY </a:t>
            </a:r>
            <a:r>
              <a:rPr lang="de-DE" sz="2400" dirty="0">
                <a:solidFill>
                  <a:schemeClr val="accent1"/>
                </a:solidFill>
              </a:rPr>
              <a:t>AND TRANSFERABILITY</a:t>
            </a:r>
          </a:p>
          <a:p>
            <a:pPr marL="0" indent="0">
              <a:buNone/>
            </a:pPr>
            <a:endParaRPr lang="de-DE" sz="2400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de-DE" dirty="0" err="1"/>
              <a:t>Concrete</a:t>
            </a:r>
            <a:r>
              <a:rPr lang="de-DE" dirty="0"/>
              <a:t> </a:t>
            </a:r>
            <a:r>
              <a:rPr lang="de-DE" dirty="0" err="1"/>
              <a:t>measu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hieve</a:t>
            </a:r>
            <a:r>
              <a:rPr lang="de-DE" dirty="0"/>
              <a:t> </a:t>
            </a:r>
            <a:r>
              <a:rPr lang="de-DE" b="1" dirty="0" err="1"/>
              <a:t>sustainable</a:t>
            </a:r>
            <a:r>
              <a:rPr lang="de-DE" b="1" dirty="0"/>
              <a:t> </a:t>
            </a:r>
            <a:r>
              <a:rPr lang="de-DE" b="1" dirty="0" err="1"/>
              <a:t>results</a:t>
            </a:r>
            <a:endParaRPr lang="de-DE" b="1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en-GB" dirty="0"/>
              <a:t>Link to the target groups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en-GB" dirty="0"/>
              <a:t>Link to </a:t>
            </a:r>
            <a:r>
              <a:rPr lang="en-GB" dirty="0" smtClean="0"/>
              <a:t>your communication </a:t>
            </a:r>
            <a:r>
              <a:rPr lang="de-AT" dirty="0" err="1" smtClean="0"/>
              <a:t>strategy</a:t>
            </a:r>
            <a:endParaRPr lang="de-DE" dirty="0"/>
          </a:p>
          <a:p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4611998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Workplan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ctivities</a:t>
            </a:r>
            <a:endParaRPr lang="de-AT" dirty="0"/>
          </a:p>
        </p:txBody>
      </p:sp>
      <p:sp>
        <p:nvSpPr>
          <p:cNvPr id="14" name="Inhaltsplatzhalter 13"/>
          <p:cNvSpPr txBox="1">
            <a:spLocks noGrp="1"/>
          </p:cNvSpPr>
          <p:nvPr>
            <p:ph idx="1"/>
          </p:nvPr>
        </p:nvSpPr>
        <p:spPr>
          <a:xfrm>
            <a:off x="560852" y="1268761"/>
            <a:ext cx="8136564" cy="2936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chemeClr val="accent1"/>
                </a:solidFill>
              </a:rPr>
              <a:t>DURABILITY </a:t>
            </a:r>
            <a:r>
              <a:rPr lang="de-DE" sz="2400" dirty="0">
                <a:solidFill>
                  <a:schemeClr val="accent1"/>
                </a:solidFill>
              </a:rPr>
              <a:t>AND TRANSFERABILITY</a:t>
            </a:r>
          </a:p>
          <a:p>
            <a:pPr marL="0" indent="0">
              <a:buNone/>
            </a:pPr>
            <a:endParaRPr lang="de-DE" sz="2400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de-DE" dirty="0" err="1"/>
              <a:t>Concrete</a:t>
            </a:r>
            <a:r>
              <a:rPr lang="de-DE" dirty="0"/>
              <a:t> </a:t>
            </a:r>
            <a:r>
              <a:rPr lang="de-DE" dirty="0" err="1"/>
              <a:t>measu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hieve</a:t>
            </a:r>
            <a:r>
              <a:rPr lang="de-DE" dirty="0"/>
              <a:t> </a:t>
            </a:r>
            <a:r>
              <a:rPr lang="de-DE" b="1" dirty="0" err="1"/>
              <a:t>sustainable</a:t>
            </a:r>
            <a:r>
              <a:rPr lang="de-DE" b="1" dirty="0"/>
              <a:t> </a:t>
            </a:r>
            <a:r>
              <a:rPr lang="de-DE" b="1" dirty="0" err="1"/>
              <a:t>results</a:t>
            </a:r>
            <a:endParaRPr lang="de-DE" b="1" dirty="0"/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en-GB" dirty="0"/>
              <a:t>Link to the target groups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</a:pPr>
            <a:r>
              <a:rPr lang="en-GB" dirty="0"/>
              <a:t>Link to </a:t>
            </a:r>
            <a:r>
              <a:rPr lang="en-GB" dirty="0" smtClean="0"/>
              <a:t>your communication </a:t>
            </a:r>
            <a:r>
              <a:rPr lang="de-AT" dirty="0" err="1" smtClean="0"/>
              <a:t>strategy</a:t>
            </a:r>
            <a:endParaRPr lang="de-DE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7" name="Rectangle 7"/>
          <p:cNvSpPr/>
          <p:nvPr/>
        </p:nvSpPr>
        <p:spPr>
          <a:xfrm>
            <a:off x="5421312" y="3933280"/>
            <a:ext cx="2340000" cy="2016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shade val="50000"/>
              <a:hueOff val="14811"/>
              <a:satOff val="1882"/>
              <a:lumOff val="2772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2600" dirty="0" smtClean="0"/>
          </a:p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400" dirty="0" smtClean="0"/>
          </a:p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2400" dirty="0" smtClean="0"/>
              <a:t>Communication</a:t>
            </a:r>
            <a:endParaRPr lang="it-IT" sz="2400" dirty="0"/>
          </a:p>
        </p:txBody>
      </p:sp>
      <p:sp>
        <p:nvSpPr>
          <p:cNvPr id="6" name="Pfeil nach rechts 5"/>
          <p:cNvSpPr/>
          <p:nvPr/>
        </p:nvSpPr>
        <p:spPr>
          <a:xfrm>
            <a:off x="4376936" y="4689252"/>
            <a:ext cx="504056" cy="504056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738231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pic>
        <p:nvPicPr>
          <p:cNvPr id="2" name="Inhaltsplatzhalt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52082" y="3018812"/>
            <a:ext cx="7730398" cy="96325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5079055"/>
            <a:ext cx="9906000" cy="238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186699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20" name="Grafik 19" descr="C:\Users\sbg04882\AppData\Local\Microsoft\Windows\INetCache\Content.Outlook\AKH3I1T9\territorialchange_v3 (002)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2682" r="1034" b="46449"/>
          <a:stretch/>
        </p:blipFill>
        <p:spPr bwMode="auto">
          <a:xfrm>
            <a:off x="1424608" y="1340768"/>
            <a:ext cx="6181306" cy="4896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Abgerundetes Rechteck 2"/>
          <p:cNvSpPr/>
          <p:nvPr/>
        </p:nvSpPr>
        <p:spPr>
          <a:xfrm>
            <a:off x="1352600" y="2708920"/>
            <a:ext cx="720080" cy="2880320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Pfeil nach rechts 3"/>
          <p:cNvSpPr/>
          <p:nvPr/>
        </p:nvSpPr>
        <p:spPr>
          <a:xfrm>
            <a:off x="5097016" y="1558854"/>
            <a:ext cx="288032" cy="28597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5989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20" name="Grafik 19" descr="C:\Users\sbg04882\AppData\Local\Microsoft\Windows\INetCache\Content.Outlook\AKH3I1T9\territorialchange_v3 (002)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2682" r="1034" b="46449"/>
          <a:stretch/>
        </p:blipFill>
        <p:spPr bwMode="auto">
          <a:xfrm>
            <a:off x="1424608" y="1340768"/>
            <a:ext cx="6181306" cy="4896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Abgerundetes Rechteck 2"/>
          <p:cNvSpPr/>
          <p:nvPr/>
        </p:nvSpPr>
        <p:spPr>
          <a:xfrm>
            <a:off x="3080792" y="3175462"/>
            <a:ext cx="1656184" cy="469562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Abgerundetes Rechteck 5"/>
          <p:cNvSpPr/>
          <p:nvPr/>
        </p:nvSpPr>
        <p:spPr>
          <a:xfrm>
            <a:off x="5817096" y="3175462"/>
            <a:ext cx="1584176" cy="469562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8768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20" name="Grafik 19" descr="C:\Users\sbg04882\AppData\Local\Microsoft\Windows\INetCache\Content.Outlook\AKH3I1T9\territorialchange_v3 (002)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2682" r="1034" b="46449"/>
          <a:stretch/>
        </p:blipFill>
        <p:spPr bwMode="auto">
          <a:xfrm>
            <a:off x="1424608" y="1340768"/>
            <a:ext cx="6181306" cy="4896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Abgerundetes Rechteck 2"/>
          <p:cNvSpPr/>
          <p:nvPr/>
        </p:nvSpPr>
        <p:spPr>
          <a:xfrm>
            <a:off x="3080792" y="3933056"/>
            <a:ext cx="1656184" cy="469562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Abgerundetes Rechteck 5"/>
          <p:cNvSpPr/>
          <p:nvPr/>
        </p:nvSpPr>
        <p:spPr>
          <a:xfrm>
            <a:off x="5817096" y="3933056"/>
            <a:ext cx="1584176" cy="469562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84468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Intervention </a:t>
            </a:r>
            <a:r>
              <a:rPr lang="de-AT" sz="2800" dirty="0" err="1"/>
              <a:t>logic</a:t>
            </a:r>
            <a:r>
              <a:rPr lang="de-AT" sz="2800" dirty="0"/>
              <a:t> </a:t>
            </a:r>
            <a:r>
              <a:rPr lang="de-AT" sz="2800" dirty="0" err="1"/>
              <a:t>and</a:t>
            </a:r>
            <a:r>
              <a:rPr lang="de-AT" sz="2800" dirty="0"/>
              <a:t> </a:t>
            </a:r>
            <a:r>
              <a:rPr lang="de-AT" sz="2800" dirty="0" err="1"/>
              <a:t>outputs</a:t>
            </a:r>
            <a:endParaRPr lang="de-AT" dirty="0"/>
          </a:p>
        </p:txBody>
      </p:sp>
      <p:pic>
        <p:nvPicPr>
          <p:cNvPr id="20" name="Grafik 19" descr="C:\Users\sbg04882\AppData\Local\Microsoft\Windows\INetCache\Content.Outlook\AKH3I1T9\territorialchange_v3 (002)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2682" r="1034" b="46449"/>
          <a:stretch/>
        </p:blipFill>
        <p:spPr bwMode="auto">
          <a:xfrm>
            <a:off x="1424608" y="1340768"/>
            <a:ext cx="6181306" cy="489654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Abgerundetes Rechteck 2"/>
          <p:cNvSpPr/>
          <p:nvPr/>
        </p:nvSpPr>
        <p:spPr>
          <a:xfrm>
            <a:off x="3080792" y="4687630"/>
            <a:ext cx="1656184" cy="1189642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Abgerundetes Rechteck 5"/>
          <p:cNvSpPr/>
          <p:nvPr/>
        </p:nvSpPr>
        <p:spPr>
          <a:xfrm>
            <a:off x="5817096" y="4687630"/>
            <a:ext cx="1584176" cy="1189642"/>
          </a:xfrm>
          <a:prstGeom prst="roundRect">
            <a:avLst/>
          </a:prstGeom>
          <a:noFill/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6199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0519_prepare good application_NC_RS.potx" id="{93F64A1A-20B2-4727-8E14-D703A6A1F8E6}" vid="{78155E34-4E70-45A0-AC03-8B530F947D52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_Prepare good application_NC_RS</Template>
  <TotalTime>0</TotalTime>
  <Words>1526</Words>
  <Application>Microsoft Office PowerPoint</Application>
  <PresentationFormat>A4-Papier (210 x 297 mm)</PresentationFormat>
  <Paragraphs>433</Paragraphs>
  <Slides>53</Slides>
  <Notes>0</Notes>
  <HiddenSlides>23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59" baseType="lpstr">
      <vt:lpstr>Arial</vt:lpstr>
      <vt:lpstr>Calibri</vt:lpstr>
      <vt:lpstr>Trebuchet MS</vt:lpstr>
      <vt:lpstr>Wingdings</vt:lpstr>
      <vt:lpstr>ASP_powerpoint21-27</vt:lpstr>
      <vt:lpstr>think-cell Folie</vt:lpstr>
      <vt:lpstr>PowerPoint-Präsentation</vt:lpstr>
      <vt:lpstr>How to prepare a good application form?</vt:lpstr>
      <vt:lpstr>How to prepare a good application form?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outputs</vt:lpstr>
      <vt:lpstr>Intervention logic and results</vt:lpstr>
      <vt:lpstr>Intervention logic and results</vt:lpstr>
      <vt:lpstr>Intervention logic and results</vt:lpstr>
      <vt:lpstr>Intervention logic and results</vt:lpstr>
      <vt:lpstr>Intervention logic and results</vt:lpstr>
      <vt:lpstr>Intervention logic and results</vt:lpstr>
      <vt:lpstr>In a nutshell…</vt:lpstr>
      <vt:lpstr>In a nutshell…</vt:lpstr>
      <vt:lpstr>In a nutshell…</vt:lpstr>
      <vt:lpstr>In a nutshell…</vt:lpstr>
      <vt:lpstr>In a nutshell…</vt:lpstr>
      <vt:lpstr>In a nutshell…</vt:lpstr>
      <vt:lpstr>In a nutshell…</vt:lpstr>
      <vt:lpstr>In a nutshell…</vt:lpstr>
      <vt:lpstr>In a nutshell…</vt:lpstr>
      <vt:lpstr>In a nutshell…</vt:lpstr>
      <vt:lpstr>In a nutshell…</vt:lpstr>
      <vt:lpstr>A few questions for you</vt:lpstr>
      <vt:lpstr>A few questions for you</vt:lpstr>
      <vt:lpstr>A few questions for you</vt:lpstr>
      <vt:lpstr>A few questions for you</vt:lpstr>
      <vt:lpstr>A few questions for you</vt:lpstr>
      <vt:lpstr>How to prepare a good application form?</vt:lpstr>
      <vt:lpstr>Workplan and timeline of activities</vt:lpstr>
      <vt:lpstr>Workplan and timeline of activities</vt:lpstr>
      <vt:lpstr>Workplan and timeline of activities</vt:lpstr>
      <vt:lpstr>Workplan and timeline of activities</vt:lpstr>
      <vt:lpstr>Workplan and timeline of activities</vt:lpstr>
      <vt:lpstr>Workplan and timeline of activities</vt:lpstr>
      <vt:lpstr>Workplan and timeline of activities</vt:lpstr>
      <vt:lpstr>PowerPoint-Präsentation</vt:lpstr>
    </vt:vector>
  </TitlesOfParts>
  <Company>Land Salz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esnel Nicolas</dc:creator>
  <cp:lastModifiedBy>Mahé Clotilde</cp:lastModifiedBy>
  <cp:revision>29</cp:revision>
  <dcterms:created xsi:type="dcterms:W3CDTF">2022-05-20T12:07:52Z</dcterms:created>
  <dcterms:modified xsi:type="dcterms:W3CDTF">2022-05-24T14:20:02Z</dcterms:modified>
</cp:coreProperties>
</file>